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Override1.xml" ContentType="application/vnd.openxmlformats-officedocument.themeOverride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2">
  <p:sldMasterIdLst>
    <p:sldMasterId id="2147483658" r:id="rId1"/>
    <p:sldMasterId id="2147483660" r:id="rId2"/>
  </p:sldMasterIdLst>
  <p:notesMasterIdLst>
    <p:notesMasterId r:id="rId21"/>
  </p:notesMasterIdLst>
  <p:handoutMasterIdLst>
    <p:handoutMasterId r:id="rId22"/>
  </p:handoutMasterIdLst>
  <p:sldIdLst>
    <p:sldId id="314" r:id="rId3"/>
    <p:sldId id="348" r:id="rId4"/>
    <p:sldId id="352" r:id="rId5"/>
    <p:sldId id="396" r:id="rId6"/>
    <p:sldId id="398" r:id="rId7"/>
    <p:sldId id="399" r:id="rId8"/>
    <p:sldId id="400" r:id="rId9"/>
    <p:sldId id="401" r:id="rId10"/>
    <p:sldId id="402" r:id="rId11"/>
    <p:sldId id="403" r:id="rId12"/>
    <p:sldId id="404" r:id="rId13"/>
    <p:sldId id="405" r:id="rId14"/>
    <p:sldId id="406" r:id="rId15"/>
    <p:sldId id="407" r:id="rId16"/>
    <p:sldId id="410" r:id="rId17"/>
    <p:sldId id="409" r:id="rId18"/>
    <p:sldId id="397" r:id="rId19"/>
    <p:sldId id="349" r:id="rId20"/>
  </p:sldIdLst>
  <p:sldSz cx="9144000" cy="6858000" type="screen4x3"/>
  <p:notesSz cx="9926638" cy="6797675"/>
  <p:defaultTextStyle>
    <a:defPPr>
      <a:defRPr lang="sv-SE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0066FF"/>
    <a:srgbClr val="9933FF"/>
    <a:srgbClr val="FF0000"/>
    <a:srgbClr val="FF9933"/>
    <a:srgbClr val="FFFF00"/>
    <a:srgbClr val="91A9C4"/>
    <a:srgbClr val="CC66FF"/>
    <a:srgbClr val="9966FF"/>
    <a:srgbClr val="FF505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Střední styl 2 – zvýraznění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Střední styl 2 – zvýraznění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8307" autoAdjust="0"/>
    <p:restoredTop sz="96437" autoAdjust="0"/>
  </p:normalViewPr>
  <p:slideViewPr>
    <p:cSldViewPr snapToObjects="1">
      <p:cViewPr varScale="1">
        <p:scale>
          <a:sx n="113" d="100"/>
          <a:sy n="113" d="100"/>
        </p:scale>
        <p:origin x="1896" y="102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tableStyles" Target="tableStyles.xml"/><Relationship Id="rId3" Type="http://schemas.openxmlformats.org/officeDocument/2006/relationships/slide" Target="slides/slide1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viewProps" Target="viewProp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presProps" Target="presProp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handoutMaster" Target="handoutMasters/handout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4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3" y="1"/>
            <a:ext cx="4302625" cy="3402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727" tIns="45363" rIns="90727" bIns="45363" numCol="1" anchor="t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pPr>
              <a:defRPr/>
            </a:pPr>
            <a:endParaRPr lang="sv-SE"/>
          </a:p>
        </p:txBody>
      </p:sp>
      <p:sp>
        <p:nvSpPr>
          <p:cNvPr id="419843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5621696" y="1"/>
            <a:ext cx="4302625" cy="3402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727" tIns="45363" rIns="90727" bIns="45363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endParaRPr lang="sv-SE"/>
          </a:p>
        </p:txBody>
      </p:sp>
      <p:sp>
        <p:nvSpPr>
          <p:cNvPr id="419844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3" y="6456378"/>
            <a:ext cx="4302625" cy="3402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727" tIns="45363" rIns="90727" bIns="45363" numCol="1" anchor="b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pPr>
              <a:defRPr/>
            </a:pPr>
            <a:endParaRPr lang="sv-SE"/>
          </a:p>
        </p:txBody>
      </p:sp>
      <p:sp>
        <p:nvSpPr>
          <p:cNvPr id="419845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5621696" y="6456378"/>
            <a:ext cx="4302625" cy="3402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727" tIns="45363" rIns="90727" bIns="45363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fld id="{3D1AC956-7DC8-4324-802F-E2B6D76F74D0}" type="slidenum">
              <a:rPr lang="sv-SE"/>
              <a:pPr>
                <a:defRPr/>
              </a:pPr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53930019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005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2" y="1"/>
            <a:ext cx="4300307" cy="3402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819" tIns="47409" rIns="94819" bIns="47409" numCol="1" anchor="t" anchorCtr="0" compatLnSpc="1">
            <a:prstTxWarp prst="textNoShape">
              <a:avLst/>
            </a:prstTxWarp>
          </a:bodyPr>
          <a:lstStyle>
            <a:lvl1pPr defTabSz="948221">
              <a:defRPr sz="1300"/>
            </a:lvl1pPr>
          </a:lstStyle>
          <a:p>
            <a:pPr>
              <a:defRPr/>
            </a:pPr>
            <a:endParaRPr lang="sv-SE"/>
          </a:p>
        </p:txBody>
      </p:sp>
      <p:sp>
        <p:nvSpPr>
          <p:cNvPr id="130051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5624018" y="1"/>
            <a:ext cx="4300307" cy="3402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819" tIns="47409" rIns="94819" bIns="47409" numCol="1" anchor="t" anchorCtr="0" compatLnSpc="1">
            <a:prstTxWarp prst="textNoShape">
              <a:avLst/>
            </a:prstTxWarp>
          </a:bodyPr>
          <a:lstStyle>
            <a:lvl1pPr algn="r" defTabSz="948221">
              <a:defRPr sz="1300"/>
            </a:lvl1pPr>
          </a:lstStyle>
          <a:p>
            <a:pPr>
              <a:defRPr/>
            </a:pPr>
            <a:endParaRPr lang="sv-SE"/>
          </a:p>
        </p:txBody>
      </p:sp>
      <p:sp>
        <p:nvSpPr>
          <p:cNvPr id="1126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3265488" y="509588"/>
            <a:ext cx="3398837" cy="254952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30053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92205" y="3229279"/>
            <a:ext cx="7942238" cy="30586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819" tIns="47409" rIns="94819" bIns="47409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sv-SE" noProof="0" smtClean="0"/>
              <a:t>Klicka här för att ändra format på bakgrundstexten</a:t>
            </a:r>
          </a:p>
          <a:p>
            <a:pPr lvl="1"/>
            <a:r>
              <a:rPr lang="sv-SE" noProof="0" smtClean="0"/>
              <a:t>Nivå två</a:t>
            </a:r>
          </a:p>
          <a:p>
            <a:pPr lvl="2"/>
            <a:r>
              <a:rPr lang="sv-SE" noProof="0" smtClean="0"/>
              <a:t>Nivå tre</a:t>
            </a:r>
          </a:p>
          <a:p>
            <a:pPr lvl="3"/>
            <a:r>
              <a:rPr lang="sv-SE" noProof="0" smtClean="0"/>
              <a:t>Nivå fyra</a:t>
            </a:r>
          </a:p>
          <a:p>
            <a:pPr lvl="4"/>
            <a:r>
              <a:rPr lang="sv-SE" noProof="0" smtClean="0"/>
              <a:t>Nivå fem</a:t>
            </a:r>
          </a:p>
        </p:txBody>
      </p:sp>
      <p:sp>
        <p:nvSpPr>
          <p:cNvPr id="130054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2" y="6456378"/>
            <a:ext cx="4300307" cy="3402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819" tIns="47409" rIns="94819" bIns="47409" numCol="1" anchor="b" anchorCtr="0" compatLnSpc="1">
            <a:prstTxWarp prst="textNoShape">
              <a:avLst/>
            </a:prstTxWarp>
          </a:bodyPr>
          <a:lstStyle>
            <a:lvl1pPr defTabSz="948221">
              <a:defRPr sz="1300"/>
            </a:lvl1pPr>
          </a:lstStyle>
          <a:p>
            <a:pPr>
              <a:defRPr/>
            </a:pPr>
            <a:endParaRPr lang="sv-SE"/>
          </a:p>
        </p:txBody>
      </p:sp>
      <p:sp>
        <p:nvSpPr>
          <p:cNvPr id="130055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5624018" y="6456378"/>
            <a:ext cx="4300307" cy="3402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819" tIns="47409" rIns="94819" bIns="47409" numCol="1" anchor="b" anchorCtr="0" compatLnSpc="1">
            <a:prstTxWarp prst="textNoShape">
              <a:avLst/>
            </a:prstTxWarp>
          </a:bodyPr>
          <a:lstStyle>
            <a:lvl1pPr algn="r" defTabSz="948221">
              <a:defRPr sz="1300"/>
            </a:lvl1pPr>
          </a:lstStyle>
          <a:p>
            <a:pPr>
              <a:defRPr/>
            </a:pPr>
            <a:fld id="{AE8519D8-ACA6-4553-96AF-A6D40BAB8AB9}" type="slidenum">
              <a:rPr lang="sv-SE"/>
              <a:pPr>
                <a:defRPr/>
              </a:pPr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489607025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Platshållare för bildobjekt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8435" name="Platshållare för anteckninga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en-GB" altLang="cs-CZ" smtClean="0"/>
          </a:p>
        </p:txBody>
      </p:sp>
      <p:sp>
        <p:nvSpPr>
          <p:cNvPr id="18436" name="Platshållare för bildnumm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Sweco Sans" charset="-18"/>
              </a:defRPr>
            </a:lvl1pPr>
            <a:lvl2pPr marL="742950" indent="-285750">
              <a:defRPr>
                <a:solidFill>
                  <a:schemeClr val="tx1"/>
                </a:solidFill>
                <a:latin typeface="Sweco Sans" charset="-18"/>
              </a:defRPr>
            </a:lvl2pPr>
            <a:lvl3pPr marL="1143000" indent="-228600">
              <a:defRPr>
                <a:solidFill>
                  <a:schemeClr val="tx1"/>
                </a:solidFill>
                <a:latin typeface="Sweco Sans" charset="-18"/>
              </a:defRPr>
            </a:lvl3pPr>
            <a:lvl4pPr marL="1600200" indent="-228600">
              <a:defRPr>
                <a:solidFill>
                  <a:schemeClr val="tx1"/>
                </a:solidFill>
                <a:latin typeface="Sweco Sans" charset="-18"/>
              </a:defRPr>
            </a:lvl4pPr>
            <a:lvl5pPr marL="2057400" indent="-228600">
              <a:defRPr>
                <a:solidFill>
                  <a:schemeClr val="tx1"/>
                </a:solidFill>
                <a:latin typeface="Sweco Sans" charset="-18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weco Sans" charset="-18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weco Sans" charset="-18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weco Sans" charset="-18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weco Sans" charset="-18"/>
              </a:defRPr>
            </a:lvl9pPr>
          </a:lstStyle>
          <a:p>
            <a:fld id="{AAEE9244-3318-4F4A-B958-E4A495FF025C}" type="slidenum">
              <a:rPr lang="en-GB" altLang="cs-CZ">
                <a:latin typeface="Calibri" pitchFamily="34" charset="0"/>
              </a:rPr>
              <a:pPr/>
              <a:t>1</a:t>
            </a:fld>
            <a:endParaRPr lang="en-GB" altLang="cs-CZ"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6920987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E8519D8-ACA6-4553-96AF-A6D40BAB8AB9}" type="slidenum">
              <a:rPr lang="sv-SE" smtClean="0"/>
              <a:pPr>
                <a:defRPr/>
              </a:pPr>
              <a:t>18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60838075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1.xml"/><Relationship Id="rId2" Type="http://schemas.openxmlformats.org/officeDocument/2006/relationships/vmlDrawing" Target="../drawings/vmlDrawing1.vml"/><Relationship Id="rId1" Type="http://schemas.openxmlformats.org/officeDocument/2006/relationships/themeOverride" Target="../theme/themeOverride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85"/>
          <p:cNvSpPr>
            <a:spLocks noChangeArrowheads="1"/>
          </p:cNvSpPr>
          <p:nvPr/>
        </p:nvSpPr>
        <p:spPr bwMode="auto">
          <a:xfrm>
            <a:off x="107950" y="6407150"/>
            <a:ext cx="8928100" cy="225425"/>
          </a:xfrm>
          <a:prstGeom prst="rect">
            <a:avLst/>
          </a:prstGeom>
          <a:solidFill>
            <a:srgbClr val="F5F5F5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cs-CZ"/>
          </a:p>
        </p:txBody>
      </p:sp>
      <p:sp>
        <p:nvSpPr>
          <p:cNvPr id="5" name="Text Box 102"/>
          <p:cNvSpPr txBox="1">
            <a:spLocks noChangeArrowheads="1"/>
          </p:cNvSpPr>
          <p:nvPr/>
        </p:nvSpPr>
        <p:spPr bwMode="auto">
          <a:xfrm>
            <a:off x="647700" y="6416675"/>
            <a:ext cx="7839075" cy="207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ctr">
              <a:spcBef>
                <a:spcPct val="50000"/>
              </a:spcBef>
              <a:defRPr/>
            </a:pPr>
            <a:r>
              <a:rPr lang="sv-SE" sz="800">
                <a:solidFill>
                  <a:schemeClr val="bg2"/>
                </a:solidFill>
              </a:rPr>
              <a:t> </a:t>
            </a:r>
          </a:p>
        </p:txBody>
      </p:sp>
      <p:sp>
        <p:nvSpPr>
          <p:cNvPr id="6" name="Text Box 104">
            <a:hlinkClick r:id="" action="ppaction://hlinkshowjump?jump=nextslide"/>
          </p:cNvPr>
          <p:cNvSpPr txBox="1">
            <a:spLocks noChangeArrowheads="1"/>
          </p:cNvSpPr>
          <p:nvPr/>
        </p:nvSpPr>
        <p:spPr bwMode="auto">
          <a:xfrm>
            <a:off x="8486775" y="6424613"/>
            <a:ext cx="544513" cy="207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algn="r">
              <a:spcBef>
                <a:spcPct val="50000"/>
              </a:spcBef>
              <a:defRPr/>
            </a:pPr>
            <a:r>
              <a:rPr lang="sv-SE" sz="800">
                <a:solidFill>
                  <a:schemeClr val="hlink"/>
                </a:solidFill>
                <a:cs typeface="Arial" charset="0"/>
              </a:rPr>
              <a:t>►</a:t>
            </a:r>
          </a:p>
        </p:txBody>
      </p:sp>
      <p:grpSp>
        <p:nvGrpSpPr>
          <p:cNvPr id="7" name="Group 121"/>
          <p:cNvGrpSpPr>
            <a:grpSpLocks/>
          </p:cNvGrpSpPr>
          <p:nvPr/>
        </p:nvGrpSpPr>
        <p:grpSpPr bwMode="auto">
          <a:xfrm>
            <a:off x="7653338" y="177800"/>
            <a:ext cx="1166812" cy="338138"/>
            <a:chOff x="3560" y="1931"/>
            <a:chExt cx="1580" cy="459"/>
          </a:xfrm>
        </p:grpSpPr>
        <p:sp>
          <p:nvSpPr>
            <p:cNvPr id="8" name="Freeform 122"/>
            <p:cNvSpPr>
              <a:spLocks noEditPoints="1"/>
            </p:cNvSpPr>
            <p:nvPr/>
          </p:nvSpPr>
          <p:spPr bwMode="auto">
            <a:xfrm>
              <a:off x="4732" y="1993"/>
              <a:ext cx="408" cy="394"/>
            </a:xfrm>
            <a:custGeom>
              <a:avLst/>
              <a:gdLst/>
              <a:ahLst/>
              <a:cxnLst>
                <a:cxn ang="0">
                  <a:pos x="326" y="307"/>
                </a:cxn>
                <a:cxn ang="0">
                  <a:pos x="326" y="347"/>
                </a:cxn>
                <a:cxn ang="0">
                  <a:pos x="83" y="347"/>
                </a:cxn>
                <a:cxn ang="0">
                  <a:pos x="83" y="307"/>
                </a:cxn>
                <a:cxn ang="0">
                  <a:pos x="204" y="187"/>
                </a:cxn>
                <a:cxn ang="0">
                  <a:pos x="326" y="307"/>
                </a:cxn>
                <a:cxn ang="0">
                  <a:pos x="326" y="307"/>
                </a:cxn>
                <a:cxn ang="0">
                  <a:pos x="409" y="130"/>
                </a:cxn>
                <a:cxn ang="0">
                  <a:pos x="260" y="130"/>
                </a:cxn>
                <a:cxn ang="0">
                  <a:pos x="355" y="35"/>
                </a:cxn>
                <a:cxn ang="0">
                  <a:pos x="322" y="0"/>
                </a:cxn>
                <a:cxn ang="0">
                  <a:pos x="204" y="118"/>
                </a:cxn>
                <a:cxn ang="0">
                  <a:pos x="85" y="0"/>
                </a:cxn>
                <a:cxn ang="0">
                  <a:pos x="50" y="33"/>
                </a:cxn>
                <a:cxn ang="0">
                  <a:pos x="149" y="130"/>
                </a:cxn>
                <a:cxn ang="0">
                  <a:pos x="0" y="130"/>
                </a:cxn>
                <a:cxn ang="0">
                  <a:pos x="0" y="175"/>
                </a:cxn>
                <a:cxn ang="0">
                  <a:pos x="147" y="175"/>
                </a:cxn>
                <a:cxn ang="0">
                  <a:pos x="33" y="288"/>
                </a:cxn>
                <a:cxn ang="0">
                  <a:pos x="33" y="395"/>
                </a:cxn>
                <a:cxn ang="0">
                  <a:pos x="374" y="395"/>
                </a:cxn>
                <a:cxn ang="0">
                  <a:pos x="374" y="288"/>
                </a:cxn>
                <a:cxn ang="0">
                  <a:pos x="260" y="175"/>
                </a:cxn>
                <a:cxn ang="0">
                  <a:pos x="409" y="175"/>
                </a:cxn>
                <a:cxn ang="0">
                  <a:pos x="409" y="130"/>
                </a:cxn>
                <a:cxn ang="0">
                  <a:pos x="409" y="130"/>
                </a:cxn>
              </a:cxnLst>
              <a:rect l="0" t="0" r="r" b="b"/>
              <a:pathLst>
                <a:path w="409" h="395">
                  <a:moveTo>
                    <a:pt x="326" y="307"/>
                  </a:moveTo>
                  <a:lnTo>
                    <a:pt x="326" y="347"/>
                  </a:lnTo>
                  <a:lnTo>
                    <a:pt x="83" y="347"/>
                  </a:lnTo>
                  <a:lnTo>
                    <a:pt x="83" y="307"/>
                  </a:lnTo>
                  <a:lnTo>
                    <a:pt x="204" y="187"/>
                  </a:lnTo>
                  <a:lnTo>
                    <a:pt x="326" y="307"/>
                  </a:lnTo>
                  <a:lnTo>
                    <a:pt x="326" y="307"/>
                  </a:lnTo>
                  <a:close/>
                  <a:moveTo>
                    <a:pt x="409" y="130"/>
                  </a:moveTo>
                  <a:lnTo>
                    <a:pt x="260" y="130"/>
                  </a:lnTo>
                  <a:lnTo>
                    <a:pt x="355" y="35"/>
                  </a:lnTo>
                  <a:lnTo>
                    <a:pt x="322" y="0"/>
                  </a:lnTo>
                  <a:lnTo>
                    <a:pt x="204" y="118"/>
                  </a:lnTo>
                  <a:lnTo>
                    <a:pt x="85" y="0"/>
                  </a:lnTo>
                  <a:lnTo>
                    <a:pt x="50" y="33"/>
                  </a:lnTo>
                  <a:lnTo>
                    <a:pt x="149" y="130"/>
                  </a:lnTo>
                  <a:lnTo>
                    <a:pt x="0" y="130"/>
                  </a:lnTo>
                  <a:lnTo>
                    <a:pt x="0" y="175"/>
                  </a:lnTo>
                  <a:lnTo>
                    <a:pt x="147" y="175"/>
                  </a:lnTo>
                  <a:lnTo>
                    <a:pt x="33" y="288"/>
                  </a:lnTo>
                  <a:lnTo>
                    <a:pt x="33" y="395"/>
                  </a:lnTo>
                  <a:lnTo>
                    <a:pt x="374" y="395"/>
                  </a:lnTo>
                  <a:lnTo>
                    <a:pt x="374" y="288"/>
                  </a:lnTo>
                  <a:lnTo>
                    <a:pt x="260" y="175"/>
                  </a:lnTo>
                  <a:lnTo>
                    <a:pt x="409" y="175"/>
                  </a:lnTo>
                  <a:lnTo>
                    <a:pt x="409" y="130"/>
                  </a:lnTo>
                  <a:lnTo>
                    <a:pt x="409" y="130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cs-CZ"/>
            </a:p>
          </p:txBody>
        </p:sp>
        <p:sp>
          <p:nvSpPr>
            <p:cNvPr id="9" name="Oval 123"/>
            <p:cNvSpPr>
              <a:spLocks noChangeArrowheads="1"/>
            </p:cNvSpPr>
            <p:nvPr/>
          </p:nvSpPr>
          <p:spPr bwMode="auto">
            <a:xfrm>
              <a:off x="4886" y="1931"/>
              <a:ext cx="97" cy="97"/>
            </a:xfrm>
            <a:prstGeom prst="ellipse">
              <a:avLst/>
            </a:prstGeom>
            <a:solidFill>
              <a:srgbClr val="E41A1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cs-CZ"/>
            </a:p>
          </p:txBody>
        </p:sp>
        <p:sp>
          <p:nvSpPr>
            <p:cNvPr id="10" name="Freeform 124"/>
            <p:cNvSpPr>
              <a:spLocks noEditPoints="1"/>
            </p:cNvSpPr>
            <p:nvPr/>
          </p:nvSpPr>
          <p:spPr bwMode="auto">
            <a:xfrm>
              <a:off x="4439" y="2192"/>
              <a:ext cx="196" cy="198"/>
            </a:xfrm>
            <a:custGeom>
              <a:avLst/>
              <a:gdLst/>
              <a:ahLst/>
              <a:cxnLst>
                <a:cxn ang="0">
                  <a:pos x="42" y="0"/>
                </a:cxn>
                <a:cxn ang="0">
                  <a:pos x="83" y="42"/>
                </a:cxn>
                <a:cxn ang="0">
                  <a:pos x="42" y="84"/>
                </a:cxn>
                <a:cxn ang="0">
                  <a:pos x="0" y="42"/>
                </a:cxn>
                <a:cxn ang="0">
                  <a:pos x="42" y="0"/>
                </a:cxn>
                <a:cxn ang="0">
                  <a:pos x="42" y="68"/>
                </a:cxn>
                <a:cxn ang="0">
                  <a:pos x="60" y="42"/>
                </a:cxn>
                <a:cxn ang="0">
                  <a:pos x="42" y="16"/>
                </a:cxn>
                <a:cxn ang="0">
                  <a:pos x="23" y="42"/>
                </a:cxn>
                <a:cxn ang="0">
                  <a:pos x="42" y="68"/>
                </a:cxn>
              </a:cxnLst>
              <a:rect l="0" t="0" r="r" b="b"/>
              <a:pathLst>
                <a:path w="83" h="84">
                  <a:moveTo>
                    <a:pt x="42" y="0"/>
                  </a:moveTo>
                  <a:cubicBezTo>
                    <a:pt x="69" y="0"/>
                    <a:pt x="83" y="15"/>
                    <a:pt x="83" y="42"/>
                  </a:cubicBezTo>
                  <a:cubicBezTo>
                    <a:pt x="83" y="68"/>
                    <a:pt x="69" y="84"/>
                    <a:pt x="42" y="84"/>
                  </a:cubicBezTo>
                  <a:cubicBezTo>
                    <a:pt x="15" y="84"/>
                    <a:pt x="0" y="68"/>
                    <a:pt x="0" y="42"/>
                  </a:cubicBezTo>
                  <a:cubicBezTo>
                    <a:pt x="0" y="15"/>
                    <a:pt x="15" y="0"/>
                    <a:pt x="42" y="0"/>
                  </a:cubicBezTo>
                  <a:moveTo>
                    <a:pt x="42" y="68"/>
                  </a:moveTo>
                  <a:cubicBezTo>
                    <a:pt x="55" y="68"/>
                    <a:pt x="60" y="55"/>
                    <a:pt x="60" y="42"/>
                  </a:cubicBezTo>
                  <a:cubicBezTo>
                    <a:pt x="60" y="28"/>
                    <a:pt x="55" y="16"/>
                    <a:pt x="42" y="16"/>
                  </a:cubicBezTo>
                  <a:cubicBezTo>
                    <a:pt x="28" y="16"/>
                    <a:pt x="23" y="28"/>
                    <a:pt x="23" y="42"/>
                  </a:cubicBezTo>
                  <a:cubicBezTo>
                    <a:pt x="23" y="55"/>
                    <a:pt x="28" y="68"/>
                    <a:pt x="42" y="68"/>
                  </a:cubicBez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cs-CZ"/>
            </a:p>
          </p:txBody>
        </p:sp>
        <p:sp>
          <p:nvSpPr>
            <p:cNvPr id="11" name="Freeform 125"/>
            <p:cNvSpPr>
              <a:spLocks/>
            </p:cNvSpPr>
            <p:nvPr/>
          </p:nvSpPr>
          <p:spPr bwMode="auto">
            <a:xfrm>
              <a:off x="4233" y="2192"/>
              <a:ext cx="170" cy="198"/>
            </a:xfrm>
            <a:custGeom>
              <a:avLst/>
              <a:gdLst/>
              <a:ahLst/>
              <a:cxnLst>
                <a:cxn ang="0">
                  <a:pos x="48" y="0"/>
                </a:cxn>
                <a:cxn ang="0">
                  <a:pos x="72" y="3"/>
                </a:cxn>
                <a:cxn ang="0">
                  <a:pos x="70" y="21"/>
                </a:cxn>
                <a:cxn ang="0">
                  <a:pos x="49" y="16"/>
                </a:cxn>
                <a:cxn ang="0">
                  <a:pos x="22" y="42"/>
                </a:cxn>
                <a:cxn ang="0">
                  <a:pos x="50" y="68"/>
                </a:cxn>
                <a:cxn ang="0">
                  <a:pos x="71" y="64"/>
                </a:cxn>
                <a:cxn ang="0">
                  <a:pos x="72" y="81"/>
                </a:cxn>
                <a:cxn ang="0">
                  <a:pos x="72" y="81"/>
                </a:cxn>
                <a:cxn ang="0">
                  <a:pos x="48" y="84"/>
                </a:cxn>
                <a:cxn ang="0">
                  <a:pos x="0" y="42"/>
                </a:cxn>
                <a:cxn ang="0">
                  <a:pos x="48" y="0"/>
                </a:cxn>
              </a:cxnLst>
              <a:rect l="0" t="0" r="r" b="b"/>
              <a:pathLst>
                <a:path w="72" h="84">
                  <a:moveTo>
                    <a:pt x="48" y="0"/>
                  </a:moveTo>
                  <a:cubicBezTo>
                    <a:pt x="56" y="0"/>
                    <a:pt x="64" y="2"/>
                    <a:pt x="72" y="3"/>
                  </a:cubicBezTo>
                  <a:cubicBezTo>
                    <a:pt x="70" y="21"/>
                    <a:pt x="70" y="21"/>
                    <a:pt x="70" y="21"/>
                  </a:cubicBezTo>
                  <a:cubicBezTo>
                    <a:pt x="63" y="18"/>
                    <a:pt x="56" y="16"/>
                    <a:pt x="49" y="16"/>
                  </a:cubicBezTo>
                  <a:cubicBezTo>
                    <a:pt x="33" y="16"/>
                    <a:pt x="22" y="27"/>
                    <a:pt x="22" y="42"/>
                  </a:cubicBezTo>
                  <a:cubicBezTo>
                    <a:pt x="22" y="58"/>
                    <a:pt x="34" y="68"/>
                    <a:pt x="50" y="68"/>
                  </a:cubicBezTo>
                  <a:cubicBezTo>
                    <a:pt x="58" y="68"/>
                    <a:pt x="65" y="66"/>
                    <a:pt x="71" y="64"/>
                  </a:cubicBezTo>
                  <a:cubicBezTo>
                    <a:pt x="72" y="81"/>
                    <a:pt x="72" y="81"/>
                    <a:pt x="72" y="81"/>
                  </a:cubicBezTo>
                  <a:cubicBezTo>
                    <a:pt x="72" y="81"/>
                    <a:pt x="72" y="81"/>
                    <a:pt x="72" y="81"/>
                  </a:cubicBezTo>
                  <a:cubicBezTo>
                    <a:pt x="66" y="82"/>
                    <a:pt x="58" y="84"/>
                    <a:pt x="48" y="84"/>
                  </a:cubicBezTo>
                  <a:cubicBezTo>
                    <a:pt x="25" y="84"/>
                    <a:pt x="0" y="73"/>
                    <a:pt x="0" y="42"/>
                  </a:cubicBezTo>
                  <a:cubicBezTo>
                    <a:pt x="0" y="13"/>
                    <a:pt x="21" y="0"/>
                    <a:pt x="48" y="0"/>
                  </a:cubicBezTo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cs-CZ"/>
            </a:p>
          </p:txBody>
        </p:sp>
        <p:sp>
          <p:nvSpPr>
            <p:cNvPr id="12" name="Freeform 126"/>
            <p:cNvSpPr>
              <a:spLocks/>
            </p:cNvSpPr>
            <p:nvPr/>
          </p:nvSpPr>
          <p:spPr bwMode="auto">
            <a:xfrm>
              <a:off x="4054" y="2194"/>
              <a:ext cx="138" cy="194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37" y="0"/>
                </a:cxn>
                <a:cxn ang="0">
                  <a:pos x="137" y="35"/>
                </a:cxn>
                <a:cxn ang="0">
                  <a:pos x="49" y="35"/>
                </a:cxn>
                <a:cxn ang="0">
                  <a:pos x="49" y="75"/>
                </a:cxn>
                <a:cxn ang="0">
                  <a:pos x="130" y="75"/>
                </a:cxn>
                <a:cxn ang="0">
                  <a:pos x="130" y="113"/>
                </a:cxn>
                <a:cxn ang="0">
                  <a:pos x="49" y="113"/>
                </a:cxn>
                <a:cxn ang="0">
                  <a:pos x="49" y="156"/>
                </a:cxn>
                <a:cxn ang="0">
                  <a:pos x="139" y="156"/>
                </a:cxn>
                <a:cxn ang="0">
                  <a:pos x="139" y="194"/>
                </a:cxn>
                <a:cxn ang="0">
                  <a:pos x="0" y="194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w="139" h="194">
                  <a:moveTo>
                    <a:pt x="0" y="0"/>
                  </a:moveTo>
                  <a:lnTo>
                    <a:pt x="137" y="0"/>
                  </a:lnTo>
                  <a:lnTo>
                    <a:pt x="137" y="35"/>
                  </a:lnTo>
                  <a:lnTo>
                    <a:pt x="49" y="35"/>
                  </a:lnTo>
                  <a:lnTo>
                    <a:pt x="49" y="75"/>
                  </a:lnTo>
                  <a:lnTo>
                    <a:pt x="130" y="75"/>
                  </a:lnTo>
                  <a:lnTo>
                    <a:pt x="130" y="113"/>
                  </a:lnTo>
                  <a:lnTo>
                    <a:pt x="49" y="113"/>
                  </a:lnTo>
                  <a:lnTo>
                    <a:pt x="49" y="156"/>
                  </a:lnTo>
                  <a:lnTo>
                    <a:pt x="139" y="156"/>
                  </a:lnTo>
                  <a:lnTo>
                    <a:pt x="139" y="194"/>
                  </a:lnTo>
                  <a:lnTo>
                    <a:pt x="0" y="194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cs-CZ"/>
            </a:p>
          </p:txBody>
        </p:sp>
        <p:sp>
          <p:nvSpPr>
            <p:cNvPr id="13" name="Freeform 127"/>
            <p:cNvSpPr>
              <a:spLocks/>
            </p:cNvSpPr>
            <p:nvPr/>
          </p:nvSpPr>
          <p:spPr bwMode="auto">
            <a:xfrm>
              <a:off x="3741" y="2194"/>
              <a:ext cx="273" cy="194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54" y="0"/>
                </a:cxn>
                <a:cxn ang="0">
                  <a:pos x="77" y="149"/>
                </a:cxn>
                <a:cxn ang="0">
                  <a:pos x="80" y="149"/>
                </a:cxn>
                <a:cxn ang="0">
                  <a:pos x="103" y="0"/>
                </a:cxn>
                <a:cxn ang="0">
                  <a:pos x="170" y="0"/>
                </a:cxn>
                <a:cxn ang="0">
                  <a:pos x="198" y="149"/>
                </a:cxn>
                <a:cxn ang="0">
                  <a:pos x="224" y="0"/>
                </a:cxn>
                <a:cxn ang="0">
                  <a:pos x="273" y="0"/>
                </a:cxn>
                <a:cxn ang="0">
                  <a:pos x="231" y="194"/>
                </a:cxn>
                <a:cxn ang="0">
                  <a:pos x="165" y="194"/>
                </a:cxn>
                <a:cxn ang="0">
                  <a:pos x="137" y="42"/>
                </a:cxn>
                <a:cxn ang="0">
                  <a:pos x="111" y="194"/>
                </a:cxn>
                <a:cxn ang="0">
                  <a:pos x="42" y="194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w="273" h="194">
                  <a:moveTo>
                    <a:pt x="0" y="0"/>
                  </a:moveTo>
                  <a:lnTo>
                    <a:pt x="54" y="0"/>
                  </a:lnTo>
                  <a:lnTo>
                    <a:pt x="77" y="149"/>
                  </a:lnTo>
                  <a:lnTo>
                    <a:pt x="80" y="149"/>
                  </a:lnTo>
                  <a:lnTo>
                    <a:pt x="103" y="0"/>
                  </a:lnTo>
                  <a:lnTo>
                    <a:pt x="170" y="0"/>
                  </a:lnTo>
                  <a:lnTo>
                    <a:pt x="198" y="149"/>
                  </a:lnTo>
                  <a:lnTo>
                    <a:pt x="224" y="0"/>
                  </a:lnTo>
                  <a:lnTo>
                    <a:pt x="273" y="0"/>
                  </a:lnTo>
                  <a:lnTo>
                    <a:pt x="231" y="194"/>
                  </a:lnTo>
                  <a:lnTo>
                    <a:pt x="165" y="194"/>
                  </a:lnTo>
                  <a:lnTo>
                    <a:pt x="137" y="42"/>
                  </a:lnTo>
                  <a:lnTo>
                    <a:pt x="111" y="194"/>
                  </a:lnTo>
                  <a:lnTo>
                    <a:pt x="42" y="194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cs-CZ"/>
            </a:p>
          </p:txBody>
        </p:sp>
        <p:sp>
          <p:nvSpPr>
            <p:cNvPr id="14" name="Freeform 128"/>
            <p:cNvSpPr>
              <a:spLocks/>
            </p:cNvSpPr>
            <p:nvPr/>
          </p:nvSpPr>
          <p:spPr bwMode="auto">
            <a:xfrm>
              <a:off x="3560" y="2192"/>
              <a:ext cx="146" cy="198"/>
            </a:xfrm>
            <a:custGeom>
              <a:avLst/>
              <a:gdLst/>
              <a:ahLst/>
              <a:cxnLst>
                <a:cxn ang="0">
                  <a:pos x="36" y="0"/>
                </a:cxn>
                <a:cxn ang="0">
                  <a:pos x="58" y="2"/>
                </a:cxn>
                <a:cxn ang="0">
                  <a:pos x="56" y="19"/>
                </a:cxn>
                <a:cxn ang="0">
                  <a:pos x="38" y="16"/>
                </a:cxn>
                <a:cxn ang="0">
                  <a:pos x="22" y="23"/>
                </a:cxn>
                <a:cxn ang="0">
                  <a:pos x="62" y="57"/>
                </a:cxn>
                <a:cxn ang="0">
                  <a:pos x="25" y="84"/>
                </a:cxn>
                <a:cxn ang="0">
                  <a:pos x="1" y="81"/>
                </a:cxn>
                <a:cxn ang="0">
                  <a:pos x="3" y="63"/>
                </a:cxn>
                <a:cxn ang="0">
                  <a:pos x="3" y="63"/>
                </a:cxn>
                <a:cxn ang="0">
                  <a:pos x="25" y="68"/>
                </a:cxn>
                <a:cxn ang="0">
                  <a:pos x="39" y="60"/>
                </a:cxn>
                <a:cxn ang="0">
                  <a:pos x="0" y="25"/>
                </a:cxn>
                <a:cxn ang="0">
                  <a:pos x="36" y="0"/>
                </a:cxn>
              </a:cxnLst>
              <a:rect l="0" t="0" r="r" b="b"/>
              <a:pathLst>
                <a:path w="62" h="84">
                  <a:moveTo>
                    <a:pt x="36" y="0"/>
                  </a:moveTo>
                  <a:cubicBezTo>
                    <a:pt x="44" y="0"/>
                    <a:pt x="51" y="1"/>
                    <a:pt x="58" y="2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0" y="17"/>
                    <a:pt x="44" y="16"/>
                    <a:pt x="38" y="16"/>
                  </a:cubicBezTo>
                  <a:cubicBezTo>
                    <a:pt x="32" y="16"/>
                    <a:pt x="22" y="16"/>
                    <a:pt x="22" y="23"/>
                  </a:cubicBezTo>
                  <a:cubicBezTo>
                    <a:pt x="22" y="37"/>
                    <a:pt x="62" y="28"/>
                    <a:pt x="62" y="57"/>
                  </a:cubicBezTo>
                  <a:cubicBezTo>
                    <a:pt x="62" y="79"/>
                    <a:pt x="44" y="84"/>
                    <a:pt x="25" y="84"/>
                  </a:cubicBezTo>
                  <a:cubicBezTo>
                    <a:pt x="18" y="84"/>
                    <a:pt x="8" y="83"/>
                    <a:pt x="1" y="81"/>
                  </a:cubicBezTo>
                  <a:cubicBezTo>
                    <a:pt x="3" y="63"/>
                    <a:pt x="3" y="63"/>
                    <a:pt x="3" y="63"/>
                  </a:cubicBezTo>
                  <a:cubicBezTo>
                    <a:pt x="3" y="63"/>
                    <a:pt x="3" y="63"/>
                    <a:pt x="3" y="63"/>
                  </a:cubicBezTo>
                  <a:cubicBezTo>
                    <a:pt x="9" y="65"/>
                    <a:pt x="16" y="68"/>
                    <a:pt x="25" y="68"/>
                  </a:cubicBezTo>
                  <a:cubicBezTo>
                    <a:pt x="32" y="68"/>
                    <a:pt x="39" y="66"/>
                    <a:pt x="39" y="60"/>
                  </a:cubicBezTo>
                  <a:cubicBezTo>
                    <a:pt x="39" y="45"/>
                    <a:pt x="0" y="55"/>
                    <a:pt x="0" y="25"/>
                  </a:cubicBezTo>
                  <a:cubicBezTo>
                    <a:pt x="0" y="5"/>
                    <a:pt x="20" y="0"/>
                    <a:pt x="36" y="0"/>
                  </a:cubicBezTo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cs-CZ"/>
            </a:p>
          </p:txBody>
        </p:sp>
      </p:grpSp>
      <p:sp>
        <p:nvSpPr>
          <p:cNvPr id="15" name="Rectangle 129">
            <a:hlinkClick r:id="rId2" action="ppaction://hlinksldjump"/>
          </p:cNvPr>
          <p:cNvSpPr>
            <a:spLocks noChangeArrowheads="1"/>
          </p:cNvSpPr>
          <p:nvPr/>
        </p:nvSpPr>
        <p:spPr bwMode="auto">
          <a:xfrm>
            <a:off x="7416800" y="0"/>
            <a:ext cx="1614488" cy="692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cs-CZ"/>
          </a:p>
        </p:txBody>
      </p:sp>
      <p:sp>
        <p:nvSpPr>
          <p:cNvPr id="161891" name="Rectangle 99"/>
          <p:cNvSpPr>
            <a:spLocks noGrp="1" noChangeArrowheads="1"/>
          </p:cNvSpPr>
          <p:nvPr>
            <p:ph type="ctrTitle"/>
          </p:nvPr>
        </p:nvSpPr>
        <p:spPr>
          <a:xfrm>
            <a:off x="827088" y="4660900"/>
            <a:ext cx="7524750" cy="641350"/>
          </a:xfrm>
        </p:spPr>
        <p:txBody>
          <a:bodyPr lIns="91440" tIns="45720" rIns="91440" bIns="45720" anchor="t">
            <a:spAutoFit/>
          </a:bodyPr>
          <a:lstStyle>
            <a:lvl1pPr>
              <a:defRPr sz="3600"/>
            </a:lvl1pPr>
          </a:lstStyle>
          <a:p>
            <a:r>
              <a:rPr lang="cs-CZ" smtClean="0"/>
              <a:t>Klepnutím lze upravit styl předlohy nadpisů.</a:t>
            </a:r>
            <a:endParaRPr lang="sv-SE"/>
          </a:p>
        </p:txBody>
      </p:sp>
      <p:sp>
        <p:nvSpPr>
          <p:cNvPr id="161892" name="Rectangle 100"/>
          <p:cNvSpPr>
            <a:spLocks noGrp="1" noChangeArrowheads="1"/>
          </p:cNvSpPr>
          <p:nvPr>
            <p:ph type="subTitle" idx="1"/>
          </p:nvPr>
        </p:nvSpPr>
        <p:spPr>
          <a:xfrm>
            <a:off x="827088" y="5233988"/>
            <a:ext cx="7524750" cy="360362"/>
          </a:xfrm>
        </p:spPr>
        <p:txBody>
          <a:bodyPr lIns="91440" tIns="45720" rIns="91440" bIns="45720">
            <a:spAutoFit/>
          </a:bodyPr>
          <a:lstStyle>
            <a:lvl1pPr>
              <a:defRPr sz="1600" b="1"/>
            </a:lvl1pPr>
          </a:lstStyle>
          <a:p>
            <a:r>
              <a:rPr lang="cs-CZ" smtClean="0"/>
              <a:t>Klepnutím lze upravit styl předlohy podnadpisů.</a:t>
            </a:r>
            <a:endParaRPr lang="sv-SE"/>
          </a:p>
        </p:txBody>
      </p:sp>
      <p:sp>
        <p:nvSpPr>
          <p:cNvPr id="16" name="Rectangle 101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6BD7737-8FA5-4244-B785-291C2C57AEA8}" type="slidenum">
              <a:rPr lang="sv-SE"/>
              <a:pPr>
                <a:defRPr/>
              </a:pPr>
              <a:t>‹#›</a:t>
            </a:fld>
            <a:endParaRPr lang="sv-SE"/>
          </a:p>
        </p:txBody>
      </p:sp>
      <p:sp>
        <p:nvSpPr>
          <p:cNvPr id="17" name="Rectangle 118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sv-SE"/>
          </a:p>
        </p:txBody>
      </p:sp>
      <p:sp>
        <p:nvSpPr>
          <p:cNvPr id="18" name="Rectangle 119"/>
          <p:cNvSpPr>
            <a:spLocks noGrp="1" noChangeArrowheads="1"/>
          </p:cNvSpPr>
          <p:nvPr>
            <p:ph type="dt" sz="half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85563C2-94D1-46ED-A7AC-808C63C86A6B}" type="datetime1">
              <a:rPr lang="sv-SE" smtClean="0"/>
              <a:t>2020-01-09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15152418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dpis a svislý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mtClean="0"/>
              <a:t>Klepnutím lze upravit styl předlohy nadpisů.</a:t>
            </a:r>
            <a:endParaRPr lang="cs-CZ"/>
          </a:p>
        </p:txBody>
      </p:sp>
      <p:sp>
        <p:nvSpPr>
          <p:cNvPr id="3" name="Zástupný symbol pro svislý text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cs-CZ" smtClean="0"/>
              <a:t>Klep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4" name="Rectangle 8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9862D4C-C93F-494A-8D1A-A5ADA335BCCE}" type="slidenum">
              <a:rPr lang="sv-SE"/>
              <a:pPr>
                <a:defRPr/>
              </a:pPr>
              <a:t>‹#›</a:t>
            </a:fld>
            <a:endParaRPr lang="sv-SE"/>
          </a:p>
        </p:txBody>
      </p:sp>
      <p:sp>
        <p:nvSpPr>
          <p:cNvPr id="5" name="Rectangle 14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sv-SE"/>
          </a:p>
        </p:txBody>
      </p:sp>
      <p:sp>
        <p:nvSpPr>
          <p:cNvPr id="6" name="Rectangle 146"/>
          <p:cNvSpPr>
            <a:spLocks noGrp="1" noChangeArrowheads="1"/>
          </p:cNvSpPr>
          <p:nvPr>
            <p:ph type="dt" sz="half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CE84758-6E60-4FC3-AD10-B246ED4028CE}" type="datetime1">
              <a:rPr lang="sv-SE" smtClean="0"/>
              <a:t>2020-01-09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63334070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Svislý nadpis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vislý nadpis 1"/>
          <p:cNvSpPr>
            <a:spLocks noGrp="1"/>
          </p:cNvSpPr>
          <p:nvPr>
            <p:ph type="title" orient="vert"/>
          </p:nvPr>
        </p:nvSpPr>
        <p:spPr>
          <a:xfrm>
            <a:off x="6570663" y="1089025"/>
            <a:ext cx="1997075" cy="5219700"/>
          </a:xfrm>
        </p:spPr>
        <p:txBody>
          <a:bodyPr vert="eaVert"/>
          <a:lstStyle/>
          <a:p>
            <a:r>
              <a:rPr lang="cs-CZ" smtClean="0"/>
              <a:t>Klepnutím lze upravit styl předlohy nadpisů.</a:t>
            </a:r>
            <a:endParaRPr lang="cs-CZ"/>
          </a:p>
        </p:txBody>
      </p:sp>
      <p:sp>
        <p:nvSpPr>
          <p:cNvPr id="3" name="Zástupný symbol pro svislý text 2"/>
          <p:cNvSpPr>
            <a:spLocks noGrp="1"/>
          </p:cNvSpPr>
          <p:nvPr>
            <p:ph type="body" orient="vert" idx="1"/>
          </p:nvPr>
        </p:nvSpPr>
        <p:spPr>
          <a:xfrm>
            <a:off x="574675" y="1089025"/>
            <a:ext cx="5843588" cy="5219700"/>
          </a:xfrm>
        </p:spPr>
        <p:txBody>
          <a:bodyPr vert="eaVert"/>
          <a:lstStyle/>
          <a:p>
            <a:pPr lvl="0"/>
            <a:r>
              <a:rPr lang="cs-CZ" smtClean="0"/>
              <a:t>Klep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4" name="Rectangle 8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5091D6A-DA9F-44B7-93CC-99576D782974}" type="slidenum">
              <a:rPr lang="sv-SE"/>
              <a:pPr>
                <a:defRPr/>
              </a:pPr>
              <a:t>‹#›</a:t>
            </a:fld>
            <a:endParaRPr lang="sv-SE"/>
          </a:p>
        </p:txBody>
      </p:sp>
      <p:sp>
        <p:nvSpPr>
          <p:cNvPr id="5" name="Rectangle 14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sv-SE"/>
          </a:p>
        </p:txBody>
      </p:sp>
      <p:sp>
        <p:nvSpPr>
          <p:cNvPr id="6" name="Rectangle 146"/>
          <p:cNvSpPr>
            <a:spLocks noGrp="1" noChangeArrowheads="1"/>
          </p:cNvSpPr>
          <p:nvPr>
            <p:ph type="dt" sz="half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4F2839D-A064-4AA0-92E6-2187FB72574B}" type="datetime1">
              <a:rPr lang="sv-SE" smtClean="0"/>
              <a:t>2020-01-09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04290476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Nadpis, text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647700" y="1089025"/>
            <a:ext cx="7848600" cy="719138"/>
          </a:xfrm>
        </p:spPr>
        <p:txBody>
          <a:bodyPr/>
          <a:lstStyle/>
          <a:p>
            <a:r>
              <a:rPr lang="cs-CZ" smtClean="0"/>
              <a:t>Klepnutím lze upravit styl předlohy nadpisů.</a:t>
            </a:r>
            <a:endParaRPr lang="cs-CZ"/>
          </a:p>
        </p:txBody>
      </p:sp>
      <p:sp>
        <p:nvSpPr>
          <p:cNvPr id="3" name="Zástupný symbol pro text 2"/>
          <p:cNvSpPr>
            <a:spLocks noGrp="1"/>
          </p:cNvSpPr>
          <p:nvPr>
            <p:ph type="body" sz="half" idx="1"/>
          </p:nvPr>
        </p:nvSpPr>
        <p:spPr>
          <a:xfrm>
            <a:off x="574675" y="1808163"/>
            <a:ext cx="3919538" cy="4500562"/>
          </a:xfrm>
        </p:spPr>
        <p:txBody>
          <a:bodyPr/>
          <a:lstStyle/>
          <a:p>
            <a:pPr lvl="0"/>
            <a:r>
              <a:rPr lang="cs-CZ" smtClean="0"/>
              <a:t>Klep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4" name="Zástupný symbol pro obsah 3"/>
          <p:cNvSpPr>
            <a:spLocks noGrp="1"/>
          </p:cNvSpPr>
          <p:nvPr>
            <p:ph sz="half" idx="2"/>
          </p:nvPr>
        </p:nvSpPr>
        <p:spPr>
          <a:xfrm>
            <a:off x="4646613" y="1808163"/>
            <a:ext cx="3921125" cy="4500562"/>
          </a:xfrm>
        </p:spPr>
        <p:txBody>
          <a:bodyPr/>
          <a:lstStyle/>
          <a:p>
            <a:pPr lvl="0"/>
            <a:r>
              <a:rPr lang="cs-CZ" smtClean="0"/>
              <a:t>Klep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5" name="Rectangle 8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C7D1242-5564-4F93-8E4E-06B5E124173F}" type="slidenum">
              <a:rPr lang="sv-SE"/>
              <a:pPr>
                <a:defRPr/>
              </a:pPr>
              <a:t>‹#›</a:t>
            </a:fld>
            <a:endParaRPr lang="sv-SE"/>
          </a:p>
        </p:txBody>
      </p:sp>
      <p:sp>
        <p:nvSpPr>
          <p:cNvPr id="6" name="Rectangle 14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sv-SE"/>
          </a:p>
        </p:txBody>
      </p:sp>
      <p:sp>
        <p:nvSpPr>
          <p:cNvPr id="7" name="Rectangle 146"/>
          <p:cNvSpPr>
            <a:spLocks noGrp="1" noChangeArrowheads="1"/>
          </p:cNvSpPr>
          <p:nvPr>
            <p:ph type="dt" sz="half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493E276-E646-4570-B4CB-36E00D11E727}" type="datetime1">
              <a:rPr lang="sv-SE" smtClean="0"/>
              <a:t>2020-01-09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92001872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 preserve="1">
  <p:cSld name="Nadpis, text a 2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647700" y="1089025"/>
            <a:ext cx="7848600" cy="719138"/>
          </a:xfrm>
        </p:spPr>
        <p:txBody>
          <a:bodyPr/>
          <a:lstStyle/>
          <a:p>
            <a:r>
              <a:rPr lang="cs-CZ" smtClean="0"/>
              <a:t>Klepnutím lze upravit styl předlohy nadpisů.</a:t>
            </a:r>
            <a:endParaRPr lang="cs-CZ"/>
          </a:p>
        </p:txBody>
      </p:sp>
      <p:sp>
        <p:nvSpPr>
          <p:cNvPr id="3" name="Zástupný symbol pro text 2"/>
          <p:cNvSpPr>
            <a:spLocks noGrp="1"/>
          </p:cNvSpPr>
          <p:nvPr>
            <p:ph type="body" sz="half" idx="1"/>
          </p:nvPr>
        </p:nvSpPr>
        <p:spPr>
          <a:xfrm>
            <a:off x="574675" y="1808163"/>
            <a:ext cx="3919538" cy="4500562"/>
          </a:xfrm>
        </p:spPr>
        <p:txBody>
          <a:bodyPr/>
          <a:lstStyle/>
          <a:p>
            <a:pPr lvl="0"/>
            <a:r>
              <a:rPr lang="cs-CZ" smtClean="0"/>
              <a:t>Klep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4" name="Zástupný symbol pro obsah 3"/>
          <p:cNvSpPr>
            <a:spLocks noGrp="1"/>
          </p:cNvSpPr>
          <p:nvPr>
            <p:ph sz="quarter" idx="2"/>
          </p:nvPr>
        </p:nvSpPr>
        <p:spPr>
          <a:xfrm>
            <a:off x="4646613" y="1808163"/>
            <a:ext cx="3921125" cy="2173287"/>
          </a:xfrm>
        </p:spPr>
        <p:txBody>
          <a:bodyPr/>
          <a:lstStyle/>
          <a:p>
            <a:pPr lvl="0"/>
            <a:r>
              <a:rPr lang="cs-CZ" smtClean="0"/>
              <a:t>Klep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5" name="Zástupný symbol pro obsah 4"/>
          <p:cNvSpPr>
            <a:spLocks noGrp="1"/>
          </p:cNvSpPr>
          <p:nvPr>
            <p:ph sz="quarter" idx="3"/>
          </p:nvPr>
        </p:nvSpPr>
        <p:spPr>
          <a:xfrm>
            <a:off x="4646613" y="4133850"/>
            <a:ext cx="3921125" cy="2174875"/>
          </a:xfrm>
        </p:spPr>
        <p:txBody>
          <a:bodyPr/>
          <a:lstStyle/>
          <a:p>
            <a:pPr lvl="0"/>
            <a:r>
              <a:rPr lang="cs-CZ" smtClean="0"/>
              <a:t>Klep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6" name="Rectangle 8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FCB8856-6A16-4545-9098-9593E3E20ADC}" type="slidenum">
              <a:rPr lang="sv-SE"/>
              <a:pPr>
                <a:defRPr/>
              </a:pPr>
              <a:t>‹#›</a:t>
            </a:fld>
            <a:endParaRPr lang="sv-SE"/>
          </a:p>
        </p:txBody>
      </p:sp>
      <p:sp>
        <p:nvSpPr>
          <p:cNvPr id="7" name="Rectangle 14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sv-SE"/>
          </a:p>
        </p:txBody>
      </p:sp>
      <p:sp>
        <p:nvSpPr>
          <p:cNvPr id="8" name="Rectangle 146"/>
          <p:cNvSpPr>
            <a:spLocks noGrp="1" noChangeArrowheads="1"/>
          </p:cNvSpPr>
          <p:nvPr>
            <p:ph type="dt" sz="half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2FD2436-E9A0-4D1F-A496-295F41DEC3A9}" type="datetime1">
              <a:rPr lang="sv-SE" smtClean="0"/>
              <a:t>2020-01-09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79827484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sida (1)">
    <p:bg>
      <p:bgPr>
        <a:solidFill>
          <a:srgbClr val="91A9C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3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" name="Group 4"/>
          <p:cNvGrpSpPr>
            <a:grpSpLocks noChangeAspect="1"/>
          </p:cNvGrpSpPr>
          <p:nvPr userDrawn="1"/>
        </p:nvGrpSpPr>
        <p:grpSpPr bwMode="auto">
          <a:xfrm>
            <a:off x="8024813" y="263525"/>
            <a:ext cx="921544" cy="373063"/>
            <a:chOff x="6766" y="132"/>
            <a:chExt cx="673" cy="204"/>
          </a:xfrm>
        </p:grpSpPr>
        <p:sp>
          <p:nvSpPr>
            <p:cNvPr id="5" name="AutoShape 3"/>
            <p:cNvSpPr>
              <a:spLocks noChangeAspect="1" noChangeArrowheads="1" noTextEdit="1"/>
            </p:cNvSpPr>
            <p:nvPr userDrawn="1"/>
          </p:nvSpPr>
          <p:spPr bwMode="auto">
            <a:xfrm>
              <a:off x="6766" y="132"/>
              <a:ext cx="673" cy="20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cs-CZ"/>
            </a:p>
          </p:txBody>
        </p:sp>
        <p:sp>
          <p:nvSpPr>
            <p:cNvPr id="6" name="Freeform 5"/>
            <p:cNvSpPr>
              <a:spLocks noEditPoints="1"/>
            </p:cNvSpPr>
            <p:nvPr userDrawn="1"/>
          </p:nvSpPr>
          <p:spPr bwMode="auto">
            <a:xfrm>
              <a:off x="7265" y="160"/>
              <a:ext cx="174" cy="174"/>
            </a:xfrm>
            <a:custGeom>
              <a:avLst/>
              <a:gdLst>
                <a:gd name="T0" fmla="*/ 35 w 174"/>
                <a:gd name="T1" fmla="*/ 136 h 174"/>
                <a:gd name="T2" fmla="*/ 87 w 174"/>
                <a:gd name="T3" fmla="*/ 83 h 174"/>
                <a:gd name="T4" fmla="*/ 139 w 174"/>
                <a:gd name="T5" fmla="*/ 136 h 174"/>
                <a:gd name="T6" fmla="*/ 139 w 174"/>
                <a:gd name="T7" fmla="*/ 153 h 174"/>
                <a:gd name="T8" fmla="*/ 35 w 174"/>
                <a:gd name="T9" fmla="*/ 153 h 174"/>
                <a:gd name="T10" fmla="*/ 35 w 174"/>
                <a:gd name="T11" fmla="*/ 136 h 174"/>
                <a:gd name="T12" fmla="*/ 22 w 174"/>
                <a:gd name="T13" fmla="*/ 15 h 174"/>
                <a:gd name="T14" fmla="*/ 63 w 174"/>
                <a:gd name="T15" fmla="*/ 59 h 174"/>
                <a:gd name="T16" fmla="*/ 0 w 174"/>
                <a:gd name="T17" fmla="*/ 59 h 174"/>
                <a:gd name="T18" fmla="*/ 0 w 174"/>
                <a:gd name="T19" fmla="*/ 78 h 174"/>
                <a:gd name="T20" fmla="*/ 63 w 174"/>
                <a:gd name="T21" fmla="*/ 78 h 174"/>
                <a:gd name="T22" fmla="*/ 15 w 174"/>
                <a:gd name="T23" fmla="*/ 127 h 174"/>
                <a:gd name="T24" fmla="*/ 15 w 174"/>
                <a:gd name="T25" fmla="*/ 174 h 174"/>
                <a:gd name="T26" fmla="*/ 159 w 174"/>
                <a:gd name="T27" fmla="*/ 174 h 174"/>
                <a:gd name="T28" fmla="*/ 159 w 174"/>
                <a:gd name="T29" fmla="*/ 127 h 174"/>
                <a:gd name="T30" fmla="*/ 111 w 174"/>
                <a:gd name="T31" fmla="*/ 78 h 174"/>
                <a:gd name="T32" fmla="*/ 174 w 174"/>
                <a:gd name="T33" fmla="*/ 78 h 174"/>
                <a:gd name="T34" fmla="*/ 174 w 174"/>
                <a:gd name="T35" fmla="*/ 59 h 174"/>
                <a:gd name="T36" fmla="*/ 111 w 174"/>
                <a:gd name="T37" fmla="*/ 59 h 174"/>
                <a:gd name="T38" fmla="*/ 152 w 174"/>
                <a:gd name="T39" fmla="*/ 15 h 174"/>
                <a:gd name="T40" fmla="*/ 137 w 174"/>
                <a:gd name="T41" fmla="*/ 2 h 174"/>
                <a:gd name="T42" fmla="*/ 87 w 174"/>
                <a:gd name="T43" fmla="*/ 53 h 174"/>
                <a:gd name="T44" fmla="*/ 37 w 174"/>
                <a:gd name="T45" fmla="*/ 0 h 174"/>
                <a:gd name="T46" fmla="*/ 22 w 174"/>
                <a:gd name="T47" fmla="*/ 15 h 174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174" h="174">
                  <a:moveTo>
                    <a:pt x="35" y="136"/>
                  </a:moveTo>
                  <a:lnTo>
                    <a:pt x="87" y="83"/>
                  </a:lnTo>
                  <a:lnTo>
                    <a:pt x="139" y="136"/>
                  </a:lnTo>
                  <a:lnTo>
                    <a:pt x="139" y="153"/>
                  </a:lnTo>
                  <a:lnTo>
                    <a:pt x="35" y="153"/>
                  </a:lnTo>
                  <a:lnTo>
                    <a:pt x="35" y="136"/>
                  </a:lnTo>
                  <a:close/>
                  <a:moveTo>
                    <a:pt x="22" y="15"/>
                  </a:moveTo>
                  <a:lnTo>
                    <a:pt x="63" y="59"/>
                  </a:lnTo>
                  <a:lnTo>
                    <a:pt x="0" y="59"/>
                  </a:lnTo>
                  <a:lnTo>
                    <a:pt x="0" y="78"/>
                  </a:lnTo>
                  <a:lnTo>
                    <a:pt x="63" y="78"/>
                  </a:lnTo>
                  <a:lnTo>
                    <a:pt x="15" y="127"/>
                  </a:lnTo>
                  <a:lnTo>
                    <a:pt x="15" y="174"/>
                  </a:lnTo>
                  <a:lnTo>
                    <a:pt x="159" y="174"/>
                  </a:lnTo>
                  <a:lnTo>
                    <a:pt x="159" y="127"/>
                  </a:lnTo>
                  <a:lnTo>
                    <a:pt x="111" y="78"/>
                  </a:lnTo>
                  <a:lnTo>
                    <a:pt x="174" y="78"/>
                  </a:lnTo>
                  <a:lnTo>
                    <a:pt x="174" y="59"/>
                  </a:lnTo>
                  <a:lnTo>
                    <a:pt x="111" y="59"/>
                  </a:lnTo>
                  <a:lnTo>
                    <a:pt x="152" y="15"/>
                  </a:lnTo>
                  <a:lnTo>
                    <a:pt x="137" y="2"/>
                  </a:lnTo>
                  <a:lnTo>
                    <a:pt x="87" y="53"/>
                  </a:lnTo>
                  <a:lnTo>
                    <a:pt x="37" y="0"/>
                  </a:lnTo>
                  <a:lnTo>
                    <a:pt x="22" y="15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cs-CZ"/>
            </a:p>
          </p:txBody>
        </p:sp>
        <p:sp>
          <p:nvSpPr>
            <p:cNvPr id="7" name="Oval 6"/>
            <p:cNvSpPr>
              <a:spLocks noChangeArrowheads="1"/>
            </p:cNvSpPr>
            <p:nvPr userDrawn="1"/>
          </p:nvSpPr>
          <p:spPr bwMode="auto">
            <a:xfrm>
              <a:off x="7332" y="134"/>
              <a:ext cx="40" cy="4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Sweco Sans" charset="-1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Sweco Sans" charset="-1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Sweco Sans" charset="-1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Sweco Sans" charset="-1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Sweco Sans" charset="-1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Sweco Sans" charset="-1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Sweco Sans" charset="-1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Sweco Sans" charset="-1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Sweco Sans" charset="-18"/>
                </a:defRPr>
              </a:lvl9pPr>
            </a:lstStyle>
            <a:p>
              <a:pPr eaLnBrk="1" hangingPunct="1"/>
              <a:endParaRPr lang="en-GB" altLang="cs-CZ"/>
            </a:p>
          </p:txBody>
        </p:sp>
        <p:sp>
          <p:nvSpPr>
            <p:cNvPr id="8" name="Freeform 7"/>
            <p:cNvSpPr>
              <a:spLocks noEditPoints="1"/>
            </p:cNvSpPr>
            <p:nvPr userDrawn="1"/>
          </p:nvSpPr>
          <p:spPr bwMode="auto">
            <a:xfrm>
              <a:off x="7141" y="247"/>
              <a:ext cx="83" cy="89"/>
            </a:xfrm>
            <a:custGeom>
              <a:avLst/>
              <a:gdLst>
                <a:gd name="T0" fmla="*/ 41 w 45"/>
                <a:gd name="T1" fmla="*/ 72 h 47"/>
                <a:gd name="T2" fmla="*/ 59 w 45"/>
                <a:gd name="T3" fmla="*/ 44 h 47"/>
                <a:gd name="T4" fmla="*/ 41 w 45"/>
                <a:gd name="T5" fmla="*/ 17 h 47"/>
                <a:gd name="T6" fmla="*/ 22 w 45"/>
                <a:gd name="T7" fmla="*/ 44 h 47"/>
                <a:gd name="T8" fmla="*/ 41 w 45"/>
                <a:gd name="T9" fmla="*/ 72 h 47"/>
                <a:gd name="T10" fmla="*/ 41 w 45"/>
                <a:gd name="T11" fmla="*/ 0 h 47"/>
                <a:gd name="T12" fmla="*/ 83 w 45"/>
                <a:gd name="T13" fmla="*/ 44 h 47"/>
                <a:gd name="T14" fmla="*/ 41 w 45"/>
                <a:gd name="T15" fmla="*/ 89 h 47"/>
                <a:gd name="T16" fmla="*/ 0 w 45"/>
                <a:gd name="T17" fmla="*/ 44 h 47"/>
                <a:gd name="T18" fmla="*/ 41 w 45"/>
                <a:gd name="T19" fmla="*/ 0 h 4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45" h="47">
                  <a:moveTo>
                    <a:pt x="22" y="38"/>
                  </a:moveTo>
                  <a:cubicBezTo>
                    <a:pt x="30" y="38"/>
                    <a:pt x="32" y="31"/>
                    <a:pt x="32" y="23"/>
                  </a:cubicBezTo>
                  <a:cubicBezTo>
                    <a:pt x="32" y="16"/>
                    <a:pt x="30" y="9"/>
                    <a:pt x="22" y="9"/>
                  </a:cubicBezTo>
                  <a:cubicBezTo>
                    <a:pt x="15" y="9"/>
                    <a:pt x="12" y="16"/>
                    <a:pt x="12" y="23"/>
                  </a:cubicBezTo>
                  <a:cubicBezTo>
                    <a:pt x="12" y="31"/>
                    <a:pt x="15" y="38"/>
                    <a:pt x="22" y="38"/>
                  </a:cubicBezTo>
                  <a:moveTo>
                    <a:pt x="22" y="0"/>
                  </a:moveTo>
                  <a:cubicBezTo>
                    <a:pt x="37" y="0"/>
                    <a:pt x="45" y="9"/>
                    <a:pt x="45" y="23"/>
                  </a:cubicBezTo>
                  <a:cubicBezTo>
                    <a:pt x="45" y="38"/>
                    <a:pt x="37" y="47"/>
                    <a:pt x="22" y="47"/>
                  </a:cubicBezTo>
                  <a:cubicBezTo>
                    <a:pt x="8" y="47"/>
                    <a:pt x="0" y="38"/>
                    <a:pt x="0" y="23"/>
                  </a:cubicBezTo>
                  <a:cubicBezTo>
                    <a:pt x="0" y="9"/>
                    <a:pt x="8" y="0"/>
                    <a:pt x="22" y="0"/>
                  </a:cubicBezTo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cs-CZ"/>
            </a:p>
          </p:txBody>
        </p:sp>
        <p:sp>
          <p:nvSpPr>
            <p:cNvPr id="9" name="Freeform 8"/>
            <p:cNvSpPr>
              <a:spLocks/>
            </p:cNvSpPr>
            <p:nvPr userDrawn="1"/>
          </p:nvSpPr>
          <p:spPr bwMode="auto">
            <a:xfrm>
              <a:off x="7053" y="247"/>
              <a:ext cx="73" cy="89"/>
            </a:xfrm>
            <a:custGeom>
              <a:avLst/>
              <a:gdLst>
                <a:gd name="T0" fmla="*/ 49 w 39"/>
                <a:gd name="T1" fmla="*/ 0 h 47"/>
                <a:gd name="T2" fmla="*/ 73 w 39"/>
                <a:gd name="T3" fmla="*/ 4 h 47"/>
                <a:gd name="T4" fmla="*/ 71 w 39"/>
                <a:gd name="T5" fmla="*/ 23 h 47"/>
                <a:gd name="T6" fmla="*/ 49 w 39"/>
                <a:gd name="T7" fmla="*/ 17 h 47"/>
                <a:gd name="T8" fmla="*/ 22 w 39"/>
                <a:gd name="T9" fmla="*/ 44 h 47"/>
                <a:gd name="T10" fmla="*/ 51 w 39"/>
                <a:gd name="T11" fmla="*/ 72 h 47"/>
                <a:gd name="T12" fmla="*/ 71 w 39"/>
                <a:gd name="T13" fmla="*/ 66 h 47"/>
                <a:gd name="T14" fmla="*/ 73 w 39"/>
                <a:gd name="T15" fmla="*/ 85 h 47"/>
                <a:gd name="T16" fmla="*/ 49 w 39"/>
                <a:gd name="T17" fmla="*/ 89 h 47"/>
                <a:gd name="T18" fmla="*/ 0 w 39"/>
                <a:gd name="T19" fmla="*/ 44 h 47"/>
                <a:gd name="T20" fmla="*/ 49 w 39"/>
                <a:gd name="T21" fmla="*/ 0 h 47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39" h="47">
                  <a:moveTo>
                    <a:pt x="26" y="0"/>
                  </a:moveTo>
                  <a:cubicBezTo>
                    <a:pt x="30" y="0"/>
                    <a:pt x="34" y="1"/>
                    <a:pt x="39" y="2"/>
                  </a:cubicBezTo>
                  <a:cubicBezTo>
                    <a:pt x="38" y="12"/>
                    <a:pt x="38" y="12"/>
                    <a:pt x="38" y="12"/>
                  </a:cubicBezTo>
                  <a:cubicBezTo>
                    <a:pt x="34" y="10"/>
                    <a:pt x="30" y="9"/>
                    <a:pt x="26" y="9"/>
                  </a:cubicBezTo>
                  <a:cubicBezTo>
                    <a:pt x="18" y="9"/>
                    <a:pt x="12" y="15"/>
                    <a:pt x="12" y="23"/>
                  </a:cubicBezTo>
                  <a:cubicBezTo>
                    <a:pt x="12" y="32"/>
                    <a:pt x="18" y="38"/>
                    <a:pt x="27" y="38"/>
                  </a:cubicBezTo>
                  <a:cubicBezTo>
                    <a:pt x="31" y="38"/>
                    <a:pt x="35" y="37"/>
                    <a:pt x="38" y="35"/>
                  </a:cubicBezTo>
                  <a:cubicBezTo>
                    <a:pt x="39" y="45"/>
                    <a:pt x="39" y="45"/>
                    <a:pt x="39" y="45"/>
                  </a:cubicBezTo>
                  <a:cubicBezTo>
                    <a:pt x="35" y="46"/>
                    <a:pt x="31" y="47"/>
                    <a:pt x="26" y="47"/>
                  </a:cubicBezTo>
                  <a:cubicBezTo>
                    <a:pt x="13" y="47"/>
                    <a:pt x="0" y="41"/>
                    <a:pt x="0" y="23"/>
                  </a:cubicBezTo>
                  <a:cubicBezTo>
                    <a:pt x="0" y="8"/>
                    <a:pt x="11" y="0"/>
                    <a:pt x="26" y="0"/>
                  </a:cubicBezTo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cs-CZ"/>
            </a:p>
          </p:txBody>
        </p:sp>
        <p:sp>
          <p:nvSpPr>
            <p:cNvPr id="10" name="Freeform 9"/>
            <p:cNvSpPr>
              <a:spLocks/>
            </p:cNvSpPr>
            <p:nvPr userDrawn="1"/>
          </p:nvSpPr>
          <p:spPr bwMode="auto">
            <a:xfrm>
              <a:off x="6977" y="249"/>
              <a:ext cx="58" cy="85"/>
            </a:xfrm>
            <a:custGeom>
              <a:avLst/>
              <a:gdLst>
                <a:gd name="T0" fmla="*/ 0 w 58"/>
                <a:gd name="T1" fmla="*/ 0 h 85"/>
                <a:gd name="T2" fmla="*/ 0 w 58"/>
                <a:gd name="T3" fmla="*/ 85 h 85"/>
                <a:gd name="T4" fmla="*/ 58 w 58"/>
                <a:gd name="T5" fmla="*/ 85 h 85"/>
                <a:gd name="T6" fmla="*/ 58 w 58"/>
                <a:gd name="T7" fmla="*/ 68 h 85"/>
                <a:gd name="T8" fmla="*/ 21 w 58"/>
                <a:gd name="T9" fmla="*/ 68 h 85"/>
                <a:gd name="T10" fmla="*/ 21 w 58"/>
                <a:gd name="T11" fmla="*/ 49 h 85"/>
                <a:gd name="T12" fmla="*/ 54 w 58"/>
                <a:gd name="T13" fmla="*/ 49 h 85"/>
                <a:gd name="T14" fmla="*/ 54 w 58"/>
                <a:gd name="T15" fmla="*/ 32 h 85"/>
                <a:gd name="T16" fmla="*/ 21 w 58"/>
                <a:gd name="T17" fmla="*/ 32 h 85"/>
                <a:gd name="T18" fmla="*/ 21 w 58"/>
                <a:gd name="T19" fmla="*/ 15 h 85"/>
                <a:gd name="T20" fmla="*/ 58 w 58"/>
                <a:gd name="T21" fmla="*/ 15 h 85"/>
                <a:gd name="T22" fmla="*/ 58 w 58"/>
                <a:gd name="T23" fmla="*/ 0 h 85"/>
                <a:gd name="T24" fmla="*/ 0 w 58"/>
                <a:gd name="T25" fmla="*/ 0 h 85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58" h="85">
                  <a:moveTo>
                    <a:pt x="0" y="0"/>
                  </a:moveTo>
                  <a:lnTo>
                    <a:pt x="0" y="85"/>
                  </a:lnTo>
                  <a:lnTo>
                    <a:pt x="58" y="85"/>
                  </a:lnTo>
                  <a:lnTo>
                    <a:pt x="58" y="68"/>
                  </a:lnTo>
                  <a:lnTo>
                    <a:pt x="21" y="68"/>
                  </a:lnTo>
                  <a:lnTo>
                    <a:pt x="21" y="49"/>
                  </a:lnTo>
                  <a:lnTo>
                    <a:pt x="54" y="49"/>
                  </a:lnTo>
                  <a:lnTo>
                    <a:pt x="54" y="32"/>
                  </a:lnTo>
                  <a:lnTo>
                    <a:pt x="21" y="32"/>
                  </a:lnTo>
                  <a:lnTo>
                    <a:pt x="21" y="15"/>
                  </a:lnTo>
                  <a:lnTo>
                    <a:pt x="58" y="15"/>
                  </a:lnTo>
                  <a:lnTo>
                    <a:pt x="58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cs-CZ"/>
            </a:p>
          </p:txBody>
        </p:sp>
        <p:sp>
          <p:nvSpPr>
            <p:cNvPr id="11" name="Freeform 10"/>
            <p:cNvSpPr>
              <a:spLocks/>
            </p:cNvSpPr>
            <p:nvPr userDrawn="1"/>
          </p:nvSpPr>
          <p:spPr bwMode="auto">
            <a:xfrm>
              <a:off x="6842" y="249"/>
              <a:ext cx="117" cy="85"/>
            </a:xfrm>
            <a:custGeom>
              <a:avLst/>
              <a:gdLst>
                <a:gd name="T0" fmla="*/ 96 w 117"/>
                <a:gd name="T1" fmla="*/ 0 h 85"/>
                <a:gd name="T2" fmla="*/ 85 w 117"/>
                <a:gd name="T3" fmla="*/ 64 h 85"/>
                <a:gd name="T4" fmla="*/ 72 w 117"/>
                <a:gd name="T5" fmla="*/ 0 h 85"/>
                <a:gd name="T6" fmla="*/ 45 w 117"/>
                <a:gd name="T7" fmla="*/ 0 h 85"/>
                <a:gd name="T8" fmla="*/ 35 w 117"/>
                <a:gd name="T9" fmla="*/ 64 h 85"/>
                <a:gd name="T10" fmla="*/ 33 w 117"/>
                <a:gd name="T11" fmla="*/ 64 h 85"/>
                <a:gd name="T12" fmla="*/ 24 w 117"/>
                <a:gd name="T13" fmla="*/ 0 h 85"/>
                <a:gd name="T14" fmla="*/ 0 w 117"/>
                <a:gd name="T15" fmla="*/ 0 h 85"/>
                <a:gd name="T16" fmla="*/ 19 w 117"/>
                <a:gd name="T17" fmla="*/ 85 h 85"/>
                <a:gd name="T18" fmla="*/ 48 w 117"/>
                <a:gd name="T19" fmla="*/ 85 h 85"/>
                <a:gd name="T20" fmla="*/ 59 w 117"/>
                <a:gd name="T21" fmla="*/ 19 h 85"/>
                <a:gd name="T22" fmla="*/ 70 w 117"/>
                <a:gd name="T23" fmla="*/ 85 h 85"/>
                <a:gd name="T24" fmla="*/ 98 w 117"/>
                <a:gd name="T25" fmla="*/ 85 h 85"/>
                <a:gd name="T26" fmla="*/ 117 w 117"/>
                <a:gd name="T27" fmla="*/ 0 h 85"/>
                <a:gd name="T28" fmla="*/ 96 w 117"/>
                <a:gd name="T29" fmla="*/ 0 h 85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117" h="85">
                  <a:moveTo>
                    <a:pt x="96" y="0"/>
                  </a:moveTo>
                  <a:lnTo>
                    <a:pt x="85" y="64"/>
                  </a:lnTo>
                  <a:lnTo>
                    <a:pt x="72" y="0"/>
                  </a:lnTo>
                  <a:lnTo>
                    <a:pt x="45" y="0"/>
                  </a:lnTo>
                  <a:lnTo>
                    <a:pt x="35" y="64"/>
                  </a:lnTo>
                  <a:lnTo>
                    <a:pt x="33" y="64"/>
                  </a:lnTo>
                  <a:lnTo>
                    <a:pt x="24" y="0"/>
                  </a:lnTo>
                  <a:lnTo>
                    <a:pt x="0" y="0"/>
                  </a:lnTo>
                  <a:lnTo>
                    <a:pt x="19" y="85"/>
                  </a:lnTo>
                  <a:lnTo>
                    <a:pt x="48" y="85"/>
                  </a:lnTo>
                  <a:lnTo>
                    <a:pt x="59" y="19"/>
                  </a:lnTo>
                  <a:lnTo>
                    <a:pt x="70" y="85"/>
                  </a:lnTo>
                  <a:lnTo>
                    <a:pt x="98" y="85"/>
                  </a:lnTo>
                  <a:lnTo>
                    <a:pt x="117" y="0"/>
                  </a:lnTo>
                  <a:lnTo>
                    <a:pt x="96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cs-CZ"/>
            </a:p>
          </p:txBody>
        </p:sp>
        <p:sp>
          <p:nvSpPr>
            <p:cNvPr id="12" name="Freeform 11"/>
            <p:cNvSpPr>
              <a:spLocks/>
            </p:cNvSpPr>
            <p:nvPr userDrawn="1"/>
          </p:nvSpPr>
          <p:spPr bwMode="auto">
            <a:xfrm>
              <a:off x="6766" y="247"/>
              <a:ext cx="63" cy="89"/>
            </a:xfrm>
            <a:custGeom>
              <a:avLst/>
              <a:gdLst>
                <a:gd name="T0" fmla="*/ 37 w 34"/>
                <a:gd name="T1" fmla="*/ 0 h 47"/>
                <a:gd name="T2" fmla="*/ 57 w 34"/>
                <a:gd name="T3" fmla="*/ 4 h 47"/>
                <a:gd name="T4" fmla="*/ 56 w 34"/>
                <a:gd name="T5" fmla="*/ 21 h 47"/>
                <a:gd name="T6" fmla="*/ 37 w 34"/>
                <a:gd name="T7" fmla="*/ 17 h 47"/>
                <a:gd name="T8" fmla="*/ 22 w 34"/>
                <a:gd name="T9" fmla="*/ 25 h 47"/>
                <a:gd name="T10" fmla="*/ 63 w 34"/>
                <a:gd name="T11" fmla="*/ 61 h 47"/>
                <a:gd name="T12" fmla="*/ 26 w 34"/>
                <a:gd name="T13" fmla="*/ 89 h 47"/>
                <a:gd name="T14" fmla="*/ 0 w 34"/>
                <a:gd name="T15" fmla="*/ 85 h 47"/>
                <a:gd name="T16" fmla="*/ 2 w 34"/>
                <a:gd name="T17" fmla="*/ 66 h 47"/>
                <a:gd name="T18" fmla="*/ 26 w 34"/>
                <a:gd name="T19" fmla="*/ 72 h 47"/>
                <a:gd name="T20" fmla="*/ 39 w 34"/>
                <a:gd name="T21" fmla="*/ 62 h 47"/>
                <a:gd name="T22" fmla="*/ 0 w 34"/>
                <a:gd name="T23" fmla="*/ 27 h 47"/>
                <a:gd name="T24" fmla="*/ 37 w 34"/>
                <a:gd name="T25" fmla="*/ 0 h 47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4" h="47">
                  <a:moveTo>
                    <a:pt x="20" y="0"/>
                  </a:moveTo>
                  <a:cubicBezTo>
                    <a:pt x="24" y="0"/>
                    <a:pt x="28" y="1"/>
                    <a:pt x="31" y="2"/>
                  </a:cubicBezTo>
                  <a:cubicBezTo>
                    <a:pt x="30" y="11"/>
                    <a:pt x="30" y="11"/>
                    <a:pt x="30" y="11"/>
                  </a:cubicBezTo>
                  <a:cubicBezTo>
                    <a:pt x="27" y="10"/>
                    <a:pt x="24" y="9"/>
                    <a:pt x="20" y="9"/>
                  </a:cubicBezTo>
                  <a:cubicBezTo>
                    <a:pt x="18" y="9"/>
                    <a:pt x="12" y="9"/>
                    <a:pt x="12" y="13"/>
                  </a:cubicBezTo>
                  <a:cubicBezTo>
                    <a:pt x="12" y="20"/>
                    <a:pt x="34" y="16"/>
                    <a:pt x="34" y="32"/>
                  </a:cubicBezTo>
                  <a:cubicBezTo>
                    <a:pt x="34" y="44"/>
                    <a:pt x="24" y="47"/>
                    <a:pt x="14" y="47"/>
                  </a:cubicBezTo>
                  <a:cubicBezTo>
                    <a:pt x="10" y="47"/>
                    <a:pt x="4" y="46"/>
                    <a:pt x="0" y="45"/>
                  </a:cubicBezTo>
                  <a:cubicBezTo>
                    <a:pt x="1" y="35"/>
                    <a:pt x="1" y="35"/>
                    <a:pt x="1" y="35"/>
                  </a:cubicBezTo>
                  <a:cubicBezTo>
                    <a:pt x="5" y="36"/>
                    <a:pt x="9" y="38"/>
                    <a:pt x="14" y="38"/>
                  </a:cubicBezTo>
                  <a:cubicBezTo>
                    <a:pt x="18" y="38"/>
                    <a:pt x="21" y="37"/>
                    <a:pt x="21" y="33"/>
                  </a:cubicBezTo>
                  <a:cubicBezTo>
                    <a:pt x="21" y="25"/>
                    <a:pt x="0" y="30"/>
                    <a:pt x="0" y="14"/>
                  </a:cubicBezTo>
                  <a:cubicBezTo>
                    <a:pt x="0" y="3"/>
                    <a:pt x="11" y="0"/>
                    <a:pt x="20" y="0"/>
                  </a:cubicBezTo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cs-CZ"/>
            </a:p>
          </p:txBody>
        </p:sp>
      </p:grpSp>
      <p:sp>
        <p:nvSpPr>
          <p:cNvPr id="2" name="Rubrik 1"/>
          <p:cNvSpPr>
            <a:spLocks noGrp="1"/>
          </p:cNvSpPr>
          <p:nvPr>
            <p:ph type="ctrTitle"/>
          </p:nvPr>
        </p:nvSpPr>
        <p:spPr>
          <a:xfrm>
            <a:off x="602457" y="2025650"/>
            <a:ext cx="1921669" cy="2387600"/>
          </a:xfrm>
        </p:spPr>
        <p:txBody>
          <a:bodyPr anchor="t">
            <a:normAutofit/>
          </a:bodyPr>
          <a:lstStyle>
            <a:lvl1pPr algn="l">
              <a:defRPr sz="4100" cap="all" baseline="0">
                <a:solidFill>
                  <a:schemeClr val="tx1"/>
                </a:solidFill>
              </a:defRPr>
            </a:lvl1pPr>
          </a:lstStyle>
          <a:p>
            <a:r>
              <a:rPr lang="en-GB" dirty="0" err="1" smtClean="0"/>
              <a:t>Klicka</a:t>
            </a:r>
            <a:r>
              <a:rPr lang="en-GB" dirty="0" smtClean="0"/>
              <a:t> </a:t>
            </a:r>
            <a:r>
              <a:rPr lang="en-GB" dirty="0" err="1" smtClean="0"/>
              <a:t>här</a:t>
            </a:r>
            <a:r>
              <a:rPr lang="en-GB" dirty="0" smtClean="0"/>
              <a:t> </a:t>
            </a:r>
            <a:r>
              <a:rPr lang="en-GB" dirty="0" err="1" smtClean="0"/>
              <a:t>för</a:t>
            </a:r>
            <a:r>
              <a:rPr lang="en-GB" dirty="0" smtClean="0"/>
              <a:t> </a:t>
            </a:r>
            <a:r>
              <a:rPr lang="en-GB" dirty="0" err="1" smtClean="0"/>
              <a:t>att</a:t>
            </a:r>
            <a:r>
              <a:rPr lang="en-GB" dirty="0" smtClean="0"/>
              <a:t> </a:t>
            </a:r>
            <a:r>
              <a:rPr lang="en-GB" dirty="0" err="1" smtClean="0"/>
              <a:t>ändra</a:t>
            </a:r>
            <a:r>
              <a:rPr lang="en-GB" dirty="0" smtClean="0"/>
              <a:t> format</a:t>
            </a:r>
            <a:endParaRPr lang="en-GB" dirty="0"/>
          </a:p>
        </p:txBody>
      </p:sp>
      <p:sp>
        <p:nvSpPr>
          <p:cNvPr id="13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4C949330-318E-495F-A37C-4849A6ACC1F6}" type="datetime1">
              <a:rPr lang="sv-SE"/>
              <a:pPr>
                <a:defRPr/>
              </a:pPr>
              <a:t>2020-01-09</a:t>
            </a:fld>
            <a:endParaRPr lang="en-GB" dirty="0"/>
          </a:p>
        </p:txBody>
      </p:sp>
      <p:sp>
        <p:nvSpPr>
          <p:cNvPr id="14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602457" y="260351"/>
            <a:ext cx="902494" cy="365125"/>
          </a:xfrm>
        </p:spPr>
        <p:txBody>
          <a:bodyPr/>
          <a:lstStyle>
            <a:lvl1pPr>
              <a:defRPr dirty="0" err="1"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en-GB"/>
              <a:t>Gendiatur, que reiunt explabo.  Ut asinctiis de vollaccab isUnt et eos quatiandandi dellecu lluptiist</a:t>
            </a:r>
          </a:p>
        </p:txBody>
      </p:sp>
      <p:sp>
        <p:nvSpPr>
          <p:cNvPr id="15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36A1455-6A4A-4056-944B-E55FC4B204CA}" type="slidenum">
              <a:rPr lang="en-GB" altLang="cs-CZ"/>
              <a:pPr/>
              <a:t>‹#›</a:t>
            </a:fld>
            <a:endParaRPr lang="en-GB" altLang="cs-CZ"/>
          </a:p>
        </p:txBody>
      </p:sp>
    </p:spTree>
    <p:extLst>
      <p:ext uri="{BB962C8B-B14F-4D97-AF65-F5344CB8AC3E}">
        <p14:creationId xmlns:p14="http://schemas.microsoft.com/office/powerpoint/2010/main" val="98114117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 smtClean="0"/>
              <a:t>Klicka</a:t>
            </a:r>
            <a:r>
              <a:rPr lang="en-GB" dirty="0" smtClean="0"/>
              <a:t> </a:t>
            </a:r>
            <a:r>
              <a:rPr lang="en-GB" dirty="0" err="1" smtClean="0"/>
              <a:t>här</a:t>
            </a:r>
            <a:r>
              <a:rPr lang="en-GB" dirty="0" smtClean="0"/>
              <a:t> </a:t>
            </a:r>
            <a:r>
              <a:rPr lang="en-GB" dirty="0" err="1" smtClean="0"/>
              <a:t>för</a:t>
            </a:r>
            <a:r>
              <a:rPr lang="en-GB" dirty="0" smtClean="0"/>
              <a:t> </a:t>
            </a:r>
            <a:r>
              <a:rPr lang="en-GB" dirty="0" err="1" smtClean="0"/>
              <a:t>att</a:t>
            </a:r>
            <a:r>
              <a:rPr lang="en-GB" dirty="0" smtClean="0"/>
              <a:t> </a:t>
            </a:r>
            <a:r>
              <a:rPr lang="en-GB" dirty="0" err="1" smtClean="0"/>
              <a:t>ändra</a:t>
            </a:r>
            <a:r>
              <a:rPr lang="en-GB" dirty="0" smtClean="0"/>
              <a:t> format</a:t>
            </a:r>
            <a:endParaRPr lang="en-GB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 dirty="0" err="1" smtClean="0"/>
              <a:t>Klicka</a:t>
            </a:r>
            <a:r>
              <a:rPr lang="en-GB" dirty="0" smtClean="0"/>
              <a:t> </a:t>
            </a:r>
            <a:r>
              <a:rPr lang="en-GB" dirty="0" err="1" smtClean="0"/>
              <a:t>här</a:t>
            </a:r>
            <a:r>
              <a:rPr lang="en-GB" dirty="0" smtClean="0"/>
              <a:t> </a:t>
            </a:r>
            <a:r>
              <a:rPr lang="en-GB" dirty="0" err="1" smtClean="0"/>
              <a:t>för</a:t>
            </a:r>
            <a:r>
              <a:rPr lang="en-GB" dirty="0" smtClean="0"/>
              <a:t> </a:t>
            </a:r>
            <a:r>
              <a:rPr lang="en-GB" dirty="0" err="1" smtClean="0"/>
              <a:t>att</a:t>
            </a:r>
            <a:r>
              <a:rPr lang="en-GB" dirty="0" smtClean="0"/>
              <a:t> </a:t>
            </a:r>
            <a:r>
              <a:rPr lang="en-GB" dirty="0" err="1" smtClean="0"/>
              <a:t>ändra</a:t>
            </a:r>
            <a:r>
              <a:rPr lang="en-GB" dirty="0" smtClean="0"/>
              <a:t> format </a:t>
            </a:r>
            <a:r>
              <a:rPr lang="en-GB" dirty="0" err="1" smtClean="0"/>
              <a:t>på</a:t>
            </a:r>
            <a:r>
              <a:rPr lang="en-GB" dirty="0" smtClean="0"/>
              <a:t> </a:t>
            </a:r>
            <a:r>
              <a:rPr lang="en-GB" dirty="0" err="1" smtClean="0"/>
              <a:t>bakgrundstexten</a:t>
            </a:r>
            <a:endParaRPr lang="en-GB" dirty="0" smtClean="0"/>
          </a:p>
          <a:p>
            <a:pPr lvl="1"/>
            <a:r>
              <a:rPr lang="en-GB" dirty="0" err="1" smtClean="0"/>
              <a:t>Nivå</a:t>
            </a:r>
            <a:r>
              <a:rPr lang="en-GB" dirty="0" smtClean="0"/>
              <a:t> </a:t>
            </a:r>
            <a:r>
              <a:rPr lang="en-GB" dirty="0" err="1" smtClean="0"/>
              <a:t>två</a:t>
            </a:r>
            <a:endParaRPr lang="en-GB" dirty="0" smtClean="0"/>
          </a:p>
          <a:p>
            <a:pPr lvl="2"/>
            <a:r>
              <a:rPr lang="en-GB" dirty="0" err="1" smtClean="0"/>
              <a:t>Nivå</a:t>
            </a:r>
            <a:r>
              <a:rPr lang="en-GB" dirty="0" smtClean="0"/>
              <a:t> </a:t>
            </a:r>
            <a:r>
              <a:rPr lang="en-GB" dirty="0" err="1" smtClean="0"/>
              <a:t>tre</a:t>
            </a:r>
            <a:endParaRPr lang="en-GB" dirty="0" smtClean="0"/>
          </a:p>
          <a:p>
            <a:pPr lvl="3"/>
            <a:r>
              <a:rPr lang="en-GB" dirty="0" err="1" smtClean="0"/>
              <a:t>Nivå</a:t>
            </a:r>
            <a:r>
              <a:rPr lang="en-GB" dirty="0" smtClean="0"/>
              <a:t> </a:t>
            </a:r>
            <a:r>
              <a:rPr lang="en-GB" dirty="0" err="1" smtClean="0"/>
              <a:t>fyra</a:t>
            </a:r>
            <a:endParaRPr lang="en-GB" dirty="0" smtClean="0"/>
          </a:p>
          <a:p>
            <a:pPr lvl="4"/>
            <a:r>
              <a:rPr lang="en-GB" dirty="0" err="1" smtClean="0"/>
              <a:t>Nivå</a:t>
            </a:r>
            <a:r>
              <a:rPr lang="en-GB" dirty="0" smtClean="0"/>
              <a:t> fem</a:t>
            </a:r>
            <a:endParaRPr lang="en-GB" dirty="0"/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9C42788-C8AE-4A3A-A088-D2D3DE0FB72F}" type="datetime1">
              <a:rPr lang="sv-SE"/>
              <a:pPr>
                <a:defRPr/>
              </a:pPr>
              <a:t>2020-01-09</a:t>
            </a:fld>
            <a:endParaRPr lang="en-GB" dirty="0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Gendiatur, que reiunt explabo.  Ut asinctiis de vollaccab isUnt et eos quatiandandi dellecu lluptiist</a:t>
            </a: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5D1DB91A-13D6-49E7-84A9-A72BB37B879F}" type="slidenum">
              <a:rPr lang="en-GB" altLang="cs-CZ"/>
              <a:pPr/>
              <a:t>‹#›</a:t>
            </a:fld>
            <a:endParaRPr lang="en-GB" altLang="cs-CZ"/>
          </a:p>
        </p:txBody>
      </p:sp>
    </p:spTree>
    <p:extLst>
      <p:ext uri="{BB962C8B-B14F-4D97-AF65-F5344CB8AC3E}">
        <p14:creationId xmlns:p14="http://schemas.microsoft.com/office/powerpoint/2010/main" val="3493255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0"/>
          <p:cNvSpPr>
            <a:spLocks noChangeArrowheads="1"/>
          </p:cNvSpPr>
          <p:nvPr/>
        </p:nvSpPr>
        <p:spPr bwMode="auto">
          <a:xfrm>
            <a:off x="103188" y="6407150"/>
            <a:ext cx="8932862" cy="225425"/>
          </a:xfrm>
          <a:prstGeom prst="rect">
            <a:avLst/>
          </a:prstGeom>
          <a:solidFill>
            <a:srgbClr val="F5F5F5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cs-CZ"/>
          </a:p>
        </p:txBody>
      </p:sp>
      <p:sp>
        <p:nvSpPr>
          <p:cNvPr id="5" name="Text Box 11">
            <a:hlinkClick r:id="" action="ppaction://hlinkshowjump?jump=nextslide"/>
          </p:cNvPr>
          <p:cNvSpPr txBox="1">
            <a:spLocks noChangeArrowheads="1"/>
          </p:cNvSpPr>
          <p:nvPr/>
        </p:nvSpPr>
        <p:spPr bwMode="auto">
          <a:xfrm>
            <a:off x="8486775" y="6424613"/>
            <a:ext cx="544513" cy="207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algn="r">
              <a:spcBef>
                <a:spcPct val="50000"/>
              </a:spcBef>
              <a:defRPr/>
            </a:pPr>
            <a:r>
              <a:rPr lang="sv-SE" sz="800">
                <a:solidFill>
                  <a:schemeClr val="hlink"/>
                </a:solidFill>
                <a:cs typeface="Arial" charset="0"/>
              </a:rPr>
              <a:t>►</a:t>
            </a:r>
          </a:p>
        </p:txBody>
      </p:sp>
      <p:sp>
        <p:nvSpPr>
          <p:cNvPr id="670732" name="Rectangle 12"/>
          <p:cNvSpPr>
            <a:spLocks noGrp="1" noChangeArrowheads="1"/>
          </p:cNvSpPr>
          <p:nvPr>
            <p:ph type="ctrTitle"/>
          </p:nvPr>
        </p:nvSpPr>
        <p:spPr>
          <a:xfrm>
            <a:off x="107950" y="4356100"/>
            <a:ext cx="8928100" cy="1268413"/>
          </a:xfrm>
        </p:spPr>
        <p:txBody>
          <a:bodyPr lIns="91440" tIns="45720" rIns="91440" bIns="45720"/>
          <a:lstStyle>
            <a:lvl1pPr algn="ctr">
              <a:defRPr>
                <a:solidFill>
                  <a:srgbClr val="4D4D4D"/>
                </a:solidFill>
              </a:defRPr>
            </a:lvl1pPr>
          </a:lstStyle>
          <a:p>
            <a:r>
              <a:rPr lang="sv-SE"/>
              <a:t>Klicka här för att ändra format</a:t>
            </a:r>
          </a:p>
        </p:txBody>
      </p:sp>
      <p:sp>
        <p:nvSpPr>
          <p:cNvPr id="670733" name="Rectangle 13"/>
          <p:cNvSpPr>
            <a:spLocks noGrp="1" noChangeArrowheads="1"/>
          </p:cNvSpPr>
          <p:nvPr>
            <p:ph type="subTitle" idx="1"/>
          </p:nvPr>
        </p:nvSpPr>
        <p:spPr>
          <a:xfrm>
            <a:off x="107950" y="3897313"/>
            <a:ext cx="8928100" cy="360362"/>
          </a:xfrm>
        </p:spPr>
        <p:txBody>
          <a:bodyPr lIns="91440" tIns="45720" rIns="91440" bIns="45720">
            <a:spAutoFit/>
          </a:bodyPr>
          <a:lstStyle>
            <a:lvl1pPr algn="ctr">
              <a:defRPr sz="1600"/>
            </a:lvl1pPr>
          </a:lstStyle>
          <a:p>
            <a:r>
              <a:rPr lang="sv-SE"/>
              <a:t>Klicka här för att ändra format på underrubrik i bakgrunden</a:t>
            </a:r>
          </a:p>
        </p:txBody>
      </p:sp>
      <p:sp>
        <p:nvSpPr>
          <p:cNvPr id="6" name="Rectangle 14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2D0CF76-83B4-45EF-B0E7-209870BC959B}" type="slidenum">
              <a:rPr lang="sv-SE"/>
              <a:pPr>
                <a:defRPr/>
              </a:pPr>
              <a:t>‹#›</a:t>
            </a:fld>
            <a:endParaRPr lang="sv-SE"/>
          </a:p>
        </p:txBody>
      </p:sp>
      <p:sp>
        <p:nvSpPr>
          <p:cNvPr id="7" name="Rectangle 1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sv-SE"/>
          </a:p>
        </p:txBody>
      </p:sp>
      <p:sp>
        <p:nvSpPr>
          <p:cNvPr id="8" name="Rectangle 16"/>
          <p:cNvSpPr>
            <a:spLocks noGrp="1" noChangeArrowheads="1"/>
          </p:cNvSpPr>
          <p:nvPr>
            <p:ph type="dt" sz="half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8C00314-7684-401C-B2CB-ED7F07114F36}" type="datetime1">
              <a:rPr lang="sv-SE" smtClean="0"/>
              <a:t>2020-01-09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97144209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mtClean="0"/>
              <a:t>Klepnutím lze upravit styl předlohy nadpisů.</a:t>
            </a:r>
            <a:endParaRPr lang="cs-CZ"/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 smtClean="0"/>
              <a:t>Klep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4" name="Rectangle 31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F90BA1E-F433-4BDB-B23C-34AB1D666B51}" type="slidenum">
              <a:rPr lang="sv-SE"/>
              <a:pPr>
                <a:defRPr/>
              </a:pPr>
              <a:t>‹#›</a:t>
            </a:fld>
            <a:endParaRPr lang="sv-SE"/>
          </a:p>
        </p:txBody>
      </p:sp>
      <p:sp>
        <p:nvSpPr>
          <p:cNvPr id="5" name="Rectangle 3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sv-SE"/>
          </a:p>
        </p:txBody>
      </p:sp>
      <p:sp>
        <p:nvSpPr>
          <p:cNvPr id="6" name="Rectangle 37"/>
          <p:cNvSpPr>
            <a:spLocks noGrp="1" noChangeArrowheads="1"/>
          </p:cNvSpPr>
          <p:nvPr>
            <p:ph type="dt" sz="half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8858EEE-3ECB-4513-B219-171485683319}" type="datetime1">
              <a:rPr lang="sv-SE" smtClean="0"/>
              <a:t>2020-01-09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35265454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čá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cs-CZ" smtClean="0"/>
              <a:t>Klepnutím lze upravit styl předlohy nadpisů.</a:t>
            </a:r>
            <a:endParaRPr lang="cs-CZ"/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cs-CZ" smtClean="0"/>
              <a:t>Klepnutím lze upravit styly předlohy textu.</a:t>
            </a:r>
          </a:p>
        </p:txBody>
      </p:sp>
      <p:sp>
        <p:nvSpPr>
          <p:cNvPr id="4" name="Rectangle 31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B6EF497-C43D-448F-9079-00E7DB731D03}" type="slidenum">
              <a:rPr lang="sv-SE"/>
              <a:pPr>
                <a:defRPr/>
              </a:pPr>
              <a:t>‹#›</a:t>
            </a:fld>
            <a:endParaRPr lang="sv-SE"/>
          </a:p>
        </p:txBody>
      </p:sp>
      <p:sp>
        <p:nvSpPr>
          <p:cNvPr id="5" name="Rectangle 3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sv-SE"/>
          </a:p>
        </p:txBody>
      </p:sp>
      <p:sp>
        <p:nvSpPr>
          <p:cNvPr id="6" name="Rectangle 37"/>
          <p:cNvSpPr>
            <a:spLocks noGrp="1" noChangeArrowheads="1"/>
          </p:cNvSpPr>
          <p:nvPr>
            <p:ph type="dt" sz="half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4D49620-9ECB-4C38-8D8F-CDC54471CAD3}" type="datetime1">
              <a:rPr lang="sv-SE" smtClean="0"/>
              <a:t>2020-01-09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21315613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mtClean="0"/>
              <a:t>Klepnutím lze upravit styl předlohy nadpisů.</a:t>
            </a:r>
            <a:endParaRPr lang="cs-CZ"/>
          </a:p>
        </p:txBody>
      </p:sp>
      <p:sp>
        <p:nvSpPr>
          <p:cNvPr id="3" name="Zástupný symbol pro obsah 2"/>
          <p:cNvSpPr>
            <a:spLocks noGrp="1"/>
          </p:cNvSpPr>
          <p:nvPr>
            <p:ph sz="half" idx="1"/>
          </p:nvPr>
        </p:nvSpPr>
        <p:spPr>
          <a:xfrm>
            <a:off x="574675" y="1808163"/>
            <a:ext cx="3919538" cy="45005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cs-CZ" smtClean="0"/>
              <a:t>Klep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4" name="Zástupný symbol pro obsah 3"/>
          <p:cNvSpPr>
            <a:spLocks noGrp="1"/>
          </p:cNvSpPr>
          <p:nvPr>
            <p:ph sz="half" idx="2"/>
          </p:nvPr>
        </p:nvSpPr>
        <p:spPr>
          <a:xfrm>
            <a:off x="4646613" y="1808163"/>
            <a:ext cx="3921125" cy="45005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cs-CZ" smtClean="0"/>
              <a:t>Klep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5" name="Rectangle 31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1093946-0127-44D7-B6AB-6DA092913C36}" type="slidenum">
              <a:rPr lang="sv-SE"/>
              <a:pPr>
                <a:defRPr/>
              </a:pPr>
              <a:t>‹#›</a:t>
            </a:fld>
            <a:endParaRPr lang="sv-SE"/>
          </a:p>
        </p:txBody>
      </p:sp>
      <p:sp>
        <p:nvSpPr>
          <p:cNvPr id="6" name="Rectangle 3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sv-SE"/>
          </a:p>
        </p:txBody>
      </p:sp>
      <p:sp>
        <p:nvSpPr>
          <p:cNvPr id="7" name="Rectangle 37"/>
          <p:cNvSpPr>
            <a:spLocks noGrp="1" noChangeArrowheads="1"/>
          </p:cNvSpPr>
          <p:nvPr>
            <p:ph type="dt" sz="half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C3C2FB7-F144-4681-B105-90A8C1F47D36}" type="datetime1">
              <a:rPr lang="sv-SE" smtClean="0"/>
              <a:t>2020-01-09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37196290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mtClean="0"/>
              <a:t>Klepnutím lze upravit styl předlohy nadpisů.</a:t>
            </a:r>
            <a:endParaRPr lang="cs-CZ"/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 smtClean="0"/>
              <a:t>Klep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4" name="Rectangle 8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1CBF79E-B045-4C77-A7E2-1D215694851B}" type="slidenum">
              <a:rPr lang="sv-SE"/>
              <a:pPr>
                <a:defRPr/>
              </a:pPr>
              <a:t>‹#›</a:t>
            </a:fld>
            <a:endParaRPr lang="sv-SE"/>
          </a:p>
        </p:txBody>
      </p:sp>
      <p:sp>
        <p:nvSpPr>
          <p:cNvPr id="5" name="Rectangle 14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sv-SE"/>
          </a:p>
        </p:txBody>
      </p:sp>
      <p:sp>
        <p:nvSpPr>
          <p:cNvPr id="6" name="Rectangle 146"/>
          <p:cNvSpPr>
            <a:spLocks noGrp="1" noChangeArrowheads="1"/>
          </p:cNvSpPr>
          <p:nvPr>
            <p:ph type="dt" sz="half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E5304F7-A47D-4451-9CF1-032F7178CE66}" type="datetime1">
              <a:rPr lang="sv-SE" smtClean="0"/>
              <a:t>2020-01-09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25865672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cs-CZ" smtClean="0"/>
              <a:t>Klepnutím lze upravit styl předlohy nadpisů.</a:t>
            </a:r>
            <a:endParaRPr lang="cs-CZ"/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 smtClean="0"/>
              <a:t>Klepnutím lze upravit styly předlohy textu.</a:t>
            </a:r>
          </a:p>
        </p:txBody>
      </p:sp>
      <p:sp>
        <p:nvSpPr>
          <p:cNvPr id="4" name="Zástupný symbol pro obsah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cs-CZ" smtClean="0"/>
              <a:t>Klep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5" name="Zástupný symbol pro text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 smtClean="0"/>
              <a:t>Klepnutím lze upravit styly předlohy textu.</a:t>
            </a:r>
          </a:p>
        </p:txBody>
      </p:sp>
      <p:sp>
        <p:nvSpPr>
          <p:cNvPr id="6" name="Zástupný symbol pro obsah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cs-CZ" smtClean="0"/>
              <a:t>Klep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7" name="Rectangle 31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F5A828F-91D3-4774-918C-7B56CE2566E0}" type="slidenum">
              <a:rPr lang="sv-SE"/>
              <a:pPr>
                <a:defRPr/>
              </a:pPr>
              <a:t>‹#›</a:t>
            </a:fld>
            <a:endParaRPr lang="sv-SE"/>
          </a:p>
        </p:txBody>
      </p:sp>
      <p:sp>
        <p:nvSpPr>
          <p:cNvPr id="8" name="Rectangle 3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sv-SE"/>
          </a:p>
        </p:txBody>
      </p:sp>
      <p:sp>
        <p:nvSpPr>
          <p:cNvPr id="9" name="Rectangle 37"/>
          <p:cNvSpPr>
            <a:spLocks noGrp="1" noChangeArrowheads="1"/>
          </p:cNvSpPr>
          <p:nvPr>
            <p:ph type="dt" sz="half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C2006DA-1C87-4393-BED3-DAC6FBE42081}" type="datetime1">
              <a:rPr lang="sv-SE" smtClean="0"/>
              <a:t>2020-01-09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23716492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mtClean="0"/>
              <a:t>Klepnutím lze upravit styl předlohy nadpisů.</a:t>
            </a:r>
            <a:endParaRPr lang="cs-CZ"/>
          </a:p>
        </p:txBody>
      </p:sp>
      <p:sp>
        <p:nvSpPr>
          <p:cNvPr id="3" name="Rectangle 31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B88BC84-3BB9-4098-A70D-3625F1908E73}" type="slidenum">
              <a:rPr lang="sv-SE"/>
              <a:pPr>
                <a:defRPr/>
              </a:pPr>
              <a:t>‹#›</a:t>
            </a:fld>
            <a:endParaRPr lang="sv-SE"/>
          </a:p>
        </p:txBody>
      </p:sp>
      <p:sp>
        <p:nvSpPr>
          <p:cNvPr id="4" name="Rectangle 3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sv-SE"/>
          </a:p>
        </p:txBody>
      </p:sp>
      <p:sp>
        <p:nvSpPr>
          <p:cNvPr id="5" name="Rectangle 37"/>
          <p:cNvSpPr>
            <a:spLocks noGrp="1" noChangeArrowheads="1"/>
          </p:cNvSpPr>
          <p:nvPr>
            <p:ph type="dt" sz="half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384C65B-D5D1-4ADB-9A8C-B067E1195E34}" type="datetime1">
              <a:rPr lang="sv-SE" smtClean="0"/>
              <a:t>2020-01-09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38563145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1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BB26E6F-3AA3-4DB4-A903-9D0C5D5C5456}" type="slidenum">
              <a:rPr lang="sv-SE"/>
              <a:pPr>
                <a:defRPr/>
              </a:pPr>
              <a:t>‹#›</a:t>
            </a:fld>
            <a:endParaRPr lang="sv-SE"/>
          </a:p>
        </p:txBody>
      </p:sp>
      <p:sp>
        <p:nvSpPr>
          <p:cNvPr id="3" name="Rectangle 3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sv-SE"/>
          </a:p>
        </p:txBody>
      </p:sp>
      <p:sp>
        <p:nvSpPr>
          <p:cNvPr id="4" name="Rectangle 37"/>
          <p:cNvSpPr>
            <a:spLocks noGrp="1" noChangeArrowheads="1"/>
          </p:cNvSpPr>
          <p:nvPr>
            <p:ph type="dt" sz="half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F1CF0F2-2D71-4B0E-AF84-9DA9ECE017A1}" type="datetime1">
              <a:rPr lang="sv-SE" smtClean="0"/>
              <a:t>2020-01-09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25398989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bsah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cs-CZ" smtClean="0"/>
              <a:t>Klepnutím lze upravit styl předlohy nadpisů.</a:t>
            </a:r>
            <a:endParaRPr lang="cs-CZ"/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cs-CZ" smtClean="0"/>
              <a:t>Klep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4" name="Zástupný symbol pro text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cs-CZ" smtClean="0"/>
              <a:t>Klepnutím lze upravit styly předlohy textu.</a:t>
            </a:r>
          </a:p>
        </p:txBody>
      </p:sp>
      <p:sp>
        <p:nvSpPr>
          <p:cNvPr id="5" name="Rectangle 31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BB6D6E0-2462-4326-BDD3-8CFA5AB18D6C}" type="slidenum">
              <a:rPr lang="sv-SE"/>
              <a:pPr>
                <a:defRPr/>
              </a:pPr>
              <a:t>‹#›</a:t>
            </a:fld>
            <a:endParaRPr lang="sv-SE"/>
          </a:p>
        </p:txBody>
      </p:sp>
      <p:sp>
        <p:nvSpPr>
          <p:cNvPr id="6" name="Rectangle 3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sv-SE"/>
          </a:p>
        </p:txBody>
      </p:sp>
      <p:sp>
        <p:nvSpPr>
          <p:cNvPr id="7" name="Rectangle 37"/>
          <p:cNvSpPr>
            <a:spLocks noGrp="1" noChangeArrowheads="1"/>
          </p:cNvSpPr>
          <p:nvPr>
            <p:ph type="dt" sz="half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A634C41-D979-4681-B29C-BF3560ACC290}" type="datetime1">
              <a:rPr lang="sv-SE" smtClean="0"/>
              <a:t>2020-01-09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90666487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ázek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cs-CZ" smtClean="0"/>
              <a:t>Klepnutím lze upravit styl předlohy nadpisů.</a:t>
            </a:r>
            <a:endParaRPr lang="cs-CZ"/>
          </a:p>
        </p:txBody>
      </p:sp>
      <p:sp>
        <p:nvSpPr>
          <p:cNvPr id="3" name="Zástupný symbol pro obrázek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cs-CZ" noProof="0" smtClean="0"/>
          </a:p>
        </p:txBody>
      </p:sp>
      <p:sp>
        <p:nvSpPr>
          <p:cNvPr id="4" name="Zástupný symbol pro text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cs-CZ" smtClean="0"/>
              <a:t>Klepnutím lze upravit styly předlohy textu.</a:t>
            </a:r>
          </a:p>
        </p:txBody>
      </p:sp>
      <p:sp>
        <p:nvSpPr>
          <p:cNvPr id="5" name="Rectangle 31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BEEE2D2-0700-4F92-AD19-B128B6A2BB91}" type="slidenum">
              <a:rPr lang="sv-SE"/>
              <a:pPr>
                <a:defRPr/>
              </a:pPr>
              <a:t>‹#›</a:t>
            </a:fld>
            <a:endParaRPr lang="sv-SE"/>
          </a:p>
        </p:txBody>
      </p:sp>
      <p:sp>
        <p:nvSpPr>
          <p:cNvPr id="6" name="Rectangle 3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sv-SE"/>
          </a:p>
        </p:txBody>
      </p:sp>
      <p:sp>
        <p:nvSpPr>
          <p:cNvPr id="7" name="Rectangle 37"/>
          <p:cNvSpPr>
            <a:spLocks noGrp="1" noChangeArrowheads="1"/>
          </p:cNvSpPr>
          <p:nvPr>
            <p:ph type="dt" sz="half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AA389C3-A36E-44E3-A53F-4BCF5CC995FA}" type="datetime1">
              <a:rPr lang="sv-SE" smtClean="0"/>
              <a:t>2020-01-09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67523475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dpis a svislý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mtClean="0"/>
              <a:t>Klepnutím lze upravit styl předlohy nadpisů.</a:t>
            </a:r>
            <a:endParaRPr lang="cs-CZ"/>
          </a:p>
        </p:txBody>
      </p:sp>
      <p:sp>
        <p:nvSpPr>
          <p:cNvPr id="3" name="Zástupný symbol pro svislý text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cs-CZ" smtClean="0"/>
              <a:t>Klep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4" name="Rectangle 31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3BEC07C-A53A-4936-A61F-9B8CC9D50376}" type="slidenum">
              <a:rPr lang="sv-SE"/>
              <a:pPr>
                <a:defRPr/>
              </a:pPr>
              <a:t>‹#›</a:t>
            </a:fld>
            <a:endParaRPr lang="sv-SE"/>
          </a:p>
        </p:txBody>
      </p:sp>
      <p:sp>
        <p:nvSpPr>
          <p:cNvPr id="5" name="Rectangle 3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sv-SE"/>
          </a:p>
        </p:txBody>
      </p:sp>
      <p:sp>
        <p:nvSpPr>
          <p:cNvPr id="6" name="Rectangle 37"/>
          <p:cNvSpPr>
            <a:spLocks noGrp="1" noChangeArrowheads="1"/>
          </p:cNvSpPr>
          <p:nvPr>
            <p:ph type="dt" sz="half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DBCBC4E-3527-488D-B34B-27E06E7E378A}" type="datetime1">
              <a:rPr lang="sv-SE" smtClean="0"/>
              <a:t>2020-01-09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95538771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Svislý nadpis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vislý nadpis 1"/>
          <p:cNvSpPr>
            <a:spLocks noGrp="1"/>
          </p:cNvSpPr>
          <p:nvPr>
            <p:ph type="title" orient="vert"/>
          </p:nvPr>
        </p:nvSpPr>
        <p:spPr>
          <a:xfrm>
            <a:off x="6570663" y="1089025"/>
            <a:ext cx="1997075" cy="5219700"/>
          </a:xfrm>
        </p:spPr>
        <p:txBody>
          <a:bodyPr vert="eaVert"/>
          <a:lstStyle/>
          <a:p>
            <a:r>
              <a:rPr lang="cs-CZ" smtClean="0"/>
              <a:t>Klepnutím lze upravit styl předlohy nadpisů.</a:t>
            </a:r>
            <a:endParaRPr lang="cs-CZ"/>
          </a:p>
        </p:txBody>
      </p:sp>
      <p:sp>
        <p:nvSpPr>
          <p:cNvPr id="3" name="Zástupný symbol pro svislý text 2"/>
          <p:cNvSpPr>
            <a:spLocks noGrp="1"/>
          </p:cNvSpPr>
          <p:nvPr>
            <p:ph type="body" orient="vert" idx="1"/>
          </p:nvPr>
        </p:nvSpPr>
        <p:spPr>
          <a:xfrm>
            <a:off x="574675" y="1089025"/>
            <a:ext cx="5843588" cy="5219700"/>
          </a:xfrm>
        </p:spPr>
        <p:txBody>
          <a:bodyPr vert="eaVert"/>
          <a:lstStyle/>
          <a:p>
            <a:pPr lvl="0"/>
            <a:r>
              <a:rPr lang="cs-CZ" smtClean="0"/>
              <a:t>Klep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4" name="Rectangle 31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3E20F46-FE36-4101-8029-D4FC7478F545}" type="slidenum">
              <a:rPr lang="sv-SE"/>
              <a:pPr>
                <a:defRPr/>
              </a:pPr>
              <a:t>‹#›</a:t>
            </a:fld>
            <a:endParaRPr lang="sv-SE"/>
          </a:p>
        </p:txBody>
      </p:sp>
      <p:sp>
        <p:nvSpPr>
          <p:cNvPr id="5" name="Rectangle 3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sv-SE"/>
          </a:p>
        </p:txBody>
      </p:sp>
      <p:sp>
        <p:nvSpPr>
          <p:cNvPr id="6" name="Rectangle 37"/>
          <p:cNvSpPr>
            <a:spLocks noGrp="1" noChangeArrowheads="1"/>
          </p:cNvSpPr>
          <p:nvPr>
            <p:ph type="dt" sz="half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240CC76-395F-4025-889A-60421CEF7B5E}" type="datetime1">
              <a:rPr lang="sv-SE" smtClean="0"/>
              <a:t>2020-01-09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27731460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čá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cs-CZ" smtClean="0"/>
              <a:t>Klepnutím lze upravit styl předlohy nadpisů.</a:t>
            </a:r>
            <a:endParaRPr lang="cs-CZ"/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cs-CZ" smtClean="0"/>
              <a:t>Klepnutím lze upravit styly předlohy textu.</a:t>
            </a:r>
          </a:p>
        </p:txBody>
      </p:sp>
      <p:sp>
        <p:nvSpPr>
          <p:cNvPr id="4" name="Rectangle 8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D0DC832-F329-4672-B245-5675F8E14AB1}" type="slidenum">
              <a:rPr lang="sv-SE"/>
              <a:pPr>
                <a:defRPr/>
              </a:pPr>
              <a:t>‹#›</a:t>
            </a:fld>
            <a:endParaRPr lang="sv-SE"/>
          </a:p>
        </p:txBody>
      </p:sp>
      <p:sp>
        <p:nvSpPr>
          <p:cNvPr id="5" name="Rectangle 14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sv-SE"/>
          </a:p>
        </p:txBody>
      </p:sp>
      <p:sp>
        <p:nvSpPr>
          <p:cNvPr id="6" name="Rectangle 146"/>
          <p:cNvSpPr>
            <a:spLocks noGrp="1" noChangeArrowheads="1"/>
          </p:cNvSpPr>
          <p:nvPr>
            <p:ph type="dt" sz="half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D88BD70-38B6-4C7E-B611-3E6D656DEB10}" type="datetime1">
              <a:rPr lang="sv-SE" smtClean="0"/>
              <a:t>2020-01-09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98534176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mtClean="0"/>
              <a:t>Klepnutím lze upravit styl předlohy nadpisů.</a:t>
            </a:r>
            <a:endParaRPr lang="cs-CZ"/>
          </a:p>
        </p:txBody>
      </p:sp>
      <p:sp>
        <p:nvSpPr>
          <p:cNvPr id="3" name="Zástupný symbol pro obsah 2"/>
          <p:cNvSpPr>
            <a:spLocks noGrp="1"/>
          </p:cNvSpPr>
          <p:nvPr>
            <p:ph sz="half" idx="1"/>
          </p:nvPr>
        </p:nvSpPr>
        <p:spPr>
          <a:xfrm>
            <a:off x="574675" y="1808163"/>
            <a:ext cx="3919538" cy="45005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cs-CZ" smtClean="0"/>
              <a:t>Klep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4" name="Zástupný symbol pro obsah 3"/>
          <p:cNvSpPr>
            <a:spLocks noGrp="1"/>
          </p:cNvSpPr>
          <p:nvPr>
            <p:ph sz="half" idx="2"/>
          </p:nvPr>
        </p:nvSpPr>
        <p:spPr>
          <a:xfrm>
            <a:off x="4646613" y="1808163"/>
            <a:ext cx="3921125" cy="45005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cs-CZ" smtClean="0"/>
              <a:t>Klep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5" name="Rectangle 8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693F12F-8E9F-4C0E-999D-2896E459679A}" type="slidenum">
              <a:rPr lang="sv-SE"/>
              <a:pPr>
                <a:defRPr/>
              </a:pPr>
              <a:t>‹#›</a:t>
            </a:fld>
            <a:endParaRPr lang="sv-SE"/>
          </a:p>
        </p:txBody>
      </p:sp>
      <p:sp>
        <p:nvSpPr>
          <p:cNvPr id="6" name="Rectangle 14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sv-SE"/>
          </a:p>
        </p:txBody>
      </p:sp>
      <p:sp>
        <p:nvSpPr>
          <p:cNvPr id="7" name="Rectangle 146"/>
          <p:cNvSpPr>
            <a:spLocks noGrp="1" noChangeArrowheads="1"/>
          </p:cNvSpPr>
          <p:nvPr>
            <p:ph type="dt" sz="half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53C148A-D08D-41B6-8B56-71E295331AFB}" type="datetime1">
              <a:rPr lang="sv-SE" smtClean="0"/>
              <a:t>2020-01-09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82889759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cs-CZ" smtClean="0"/>
              <a:t>Klepnutím lze upravit styl předlohy nadpisů.</a:t>
            </a:r>
            <a:endParaRPr lang="cs-CZ"/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 smtClean="0"/>
              <a:t>Klepnutím lze upravit styly předlohy textu.</a:t>
            </a:r>
          </a:p>
        </p:txBody>
      </p:sp>
      <p:sp>
        <p:nvSpPr>
          <p:cNvPr id="4" name="Zástupný symbol pro obsah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cs-CZ" smtClean="0"/>
              <a:t>Klep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5" name="Zástupný symbol pro text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 smtClean="0"/>
              <a:t>Klepnutím lze upravit styly předlohy textu.</a:t>
            </a:r>
          </a:p>
        </p:txBody>
      </p:sp>
      <p:sp>
        <p:nvSpPr>
          <p:cNvPr id="6" name="Zástupný symbol pro obsah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cs-CZ" smtClean="0"/>
              <a:t>Klep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7" name="Rectangle 8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F29B66D-229B-4FDD-B324-47089830B589}" type="slidenum">
              <a:rPr lang="sv-SE"/>
              <a:pPr>
                <a:defRPr/>
              </a:pPr>
              <a:t>‹#›</a:t>
            </a:fld>
            <a:endParaRPr lang="sv-SE"/>
          </a:p>
        </p:txBody>
      </p:sp>
      <p:sp>
        <p:nvSpPr>
          <p:cNvPr id="8" name="Rectangle 14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sv-SE"/>
          </a:p>
        </p:txBody>
      </p:sp>
      <p:sp>
        <p:nvSpPr>
          <p:cNvPr id="9" name="Rectangle 146"/>
          <p:cNvSpPr>
            <a:spLocks noGrp="1" noChangeArrowheads="1"/>
          </p:cNvSpPr>
          <p:nvPr>
            <p:ph type="dt" sz="half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A462FBD-EAA8-48C2-BEDD-924B5DA573DC}" type="datetime1">
              <a:rPr lang="sv-SE" smtClean="0"/>
              <a:t>2020-01-09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63055445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mtClean="0"/>
              <a:t>Klepnutím lze upravit styl předlohy nadpisů.</a:t>
            </a:r>
            <a:endParaRPr lang="cs-CZ"/>
          </a:p>
        </p:txBody>
      </p:sp>
      <p:sp>
        <p:nvSpPr>
          <p:cNvPr id="3" name="Rectangle 8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8E4EB15-B51F-4860-B995-A2AC97E54C14}" type="slidenum">
              <a:rPr lang="sv-SE"/>
              <a:pPr>
                <a:defRPr/>
              </a:pPr>
              <a:t>‹#›</a:t>
            </a:fld>
            <a:endParaRPr lang="sv-SE"/>
          </a:p>
        </p:txBody>
      </p:sp>
      <p:sp>
        <p:nvSpPr>
          <p:cNvPr id="4" name="Rectangle 14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sv-SE"/>
          </a:p>
        </p:txBody>
      </p:sp>
      <p:sp>
        <p:nvSpPr>
          <p:cNvPr id="5" name="Rectangle 146"/>
          <p:cNvSpPr>
            <a:spLocks noGrp="1" noChangeArrowheads="1"/>
          </p:cNvSpPr>
          <p:nvPr>
            <p:ph type="dt" sz="half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D300261-50CB-4DB0-B1BB-077D73F057C6}" type="datetime1">
              <a:rPr lang="sv-SE" smtClean="0"/>
              <a:t>2020-01-09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73601254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8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708DAD8-9224-4B8F-9526-528C558F91E9}" type="slidenum">
              <a:rPr lang="sv-SE"/>
              <a:pPr>
                <a:defRPr/>
              </a:pPr>
              <a:t>‹#›</a:t>
            </a:fld>
            <a:endParaRPr lang="sv-SE"/>
          </a:p>
        </p:txBody>
      </p:sp>
      <p:sp>
        <p:nvSpPr>
          <p:cNvPr id="3" name="Rectangle 14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sv-SE"/>
          </a:p>
        </p:txBody>
      </p:sp>
      <p:sp>
        <p:nvSpPr>
          <p:cNvPr id="4" name="Rectangle 146"/>
          <p:cNvSpPr>
            <a:spLocks noGrp="1" noChangeArrowheads="1"/>
          </p:cNvSpPr>
          <p:nvPr>
            <p:ph type="dt" sz="half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013A994-220F-4D88-8EA1-D50E6799962F}" type="datetime1">
              <a:rPr lang="sv-SE" smtClean="0"/>
              <a:t>2020-01-09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92508533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bsah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cs-CZ" smtClean="0"/>
              <a:t>Klepnutím lze upravit styl předlohy nadpisů.</a:t>
            </a:r>
            <a:endParaRPr lang="cs-CZ"/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cs-CZ" smtClean="0"/>
              <a:t>Klep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4" name="Zástupný symbol pro text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cs-CZ" smtClean="0"/>
              <a:t>Klepnutím lze upravit styly předlohy textu.</a:t>
            </a:r>
          </a:p>
        </p:txBody>
      </p:sp>
      <p:sp>
        <p:nvSpPr>
          <p:cNvPr id="5" name="Rectangle 8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55A157C-EDF4-46E3-BD9F-DE177AD0BFD1}" type="slidenum">
              <a:rPr lang="sv-SE"/>
              <a:pPr>
                <a:defRPr/>
              </a:pPr>
              <a:t>‹#›</a:t>
            </a:fld>
            <a:endParaRPr lang="sv-SE"/>
          </a:p>
        </p:txBody>
      </p:sp>
      <p:sp>
        <p:nvSpPr>
          <p:cNvPr id="6" name="Rectangle 14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sv-SE"/>
          </a:p>
        </p:txBody>
      </p:sp>
      <p:sp>
        <p:nvSpPr>
          <p:cNvPr id="7" name="Rectangle 146"/>
          <p:cNvSpPr>
            <a:spLocks noGrp="1" noChangeArrowheads="1"/>
          </p:cNvSpPr>
          <p:nvPr>
            <p:ph type="dt" sz="half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8DEF640-023A-45AD-8AB3-7D9BE62F87FA}" type="datetime1">
              <a:rPr lang="sv-SE" smtClean="0"/>
              <a:t>2020-01-09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17686682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ázek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cs-CZ" smtClean="0"/>
              <a:t>Klepnutím lze upravit styl předlohy nadpisů.</a:t>
            </a:r>
            <a:endParaRPr lang="cs-CZ"/>
          </a:p>
        </p:txBody>
      </p:sp>
      <p:sp>
        <p:nvSpPr>
          <p:cNvPr id="3" name="Zástupný symbol pro obrázek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cs-CZ" noProof="0" smtClean="0"/>
              <a:t>Klepnutím na ikonu přidáte obrázek.</a:t>
            </a:r>
          </a:p>
        </p:txBody>
      </p:sp>
      <p:sp>
        <p:nvSpPr>
          <p:cNvPr id="4" name="Zástupný symbol pro text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cs-CZ" smtClean="0"/>
              <a:t>Klepnutím lze upravit styly předlohy textu.</a:t>
            </a:r>
          </a:p>
        </p:txBody>
      </p:sp>
      <p:sp>
        <p:nvSpPr>
          <p:cNvPr id="5" name="Rectangle 8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ED744CD-FC5F-42A3-BFAB-CABCC751476E}" type="slidenum">
              <a:rPr lang="sv-SE"/>
              <a:pPr>
                <a:defRPr/>
              </a:pPr>
              <a:t>‹#›</a:t>
            </a:fld>
            <a:endParaRPr lang="sv-SE"/>
          </a:p>
        </p:txBody>
      </p:sp>
      <p:sp>
        <p:nvSpPr>
          <p:cNvPr id="6" name="Rectangle 14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sv-SE"/>
          </a:p>
        </p:txBody>
      </p:sp>
      <p:sp>
        <p:nvSpPr>
          <p:cNvPr id="7" name="Rectangle 146"/>
          <p:cNvSpPr>
            <a:spLocks noGrp="1" noChangeArrowheads="1"/>
          </p:cNvSpPr>
          <p:nvPr>
            <p:ph type="dt" sz="half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795495F-870C-4CD2-A5C6-88C730D39B1C}" type="datetime1">
              <a:rPr lang="sv-SE" smtClean="0"/>
              <a:t>2020-01-09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98431004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" Target="../slides/slide18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" Target="../slides/slide18.xml"/><Relationship Id="rId3" Type="http://schemas.openxmlformats.org/officeDocument/2006/relationships/slideLayout" Target="../slideLayouts/slideLayout18.xml"/><Relationship Id="rId7" Type="http://schemas.openxmlformats.org/officeDocument/2006/relationships/slideLayout" Target="../slideLayouts/slideLayout22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5" Type="http://schemas.openxmlformats.org/officeDocument/2006/relationships/slideLayout" Target="../slideLayouts/slideLayout20.xml"/><Relationship Id="rId10" Type="http://schemas.openxmlformats.org/officeDocument/2006/relationships/slideLayout" Target="../slideLayouts/slideLayout25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0836" name="Rectangle 68"/>
          <p:cNvSpPr>
            <a:spLocks noChangeArrowheads="1"/>
          </p:cNvSpPr>
          <p:nvPr/>
        </p:nvSpPr>
        <p:spPr bwMode="auto">
          <a:xfrm>
            <a:off x="107950" y="800100"/>
            <a:ext cx="8928100" cy="5508625"/>
          </a:xfrm>
          <a:prstGeom prst="rect">
            <a:avLst/>
          </a:prstGeom>
          <a:solidFill>
            <a:srgbClr val="F5F5F5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cs-CZ"/>
          </a:p>
        </p:txBody>
      </p:sp>
      <p:sp>
        <p:nvSpPr>
          <p:cNvPr id="160833" name="Rectangle 65"/>
          <p:cNvSpPr>
            <a:spLocks noChangeArrowheads="1"/>
          </p:cNvSpPr>
          <p:nvPr/>
        </p:nvSpPr>
        <p:spPr bwMode="auto">
          <a:xfrm>
            <a:off x="103188" y="6407150"/>
            <a:ext cx="8932862" cy="225425"/>
          </a:xfrm>
          <a:prstGeom prst="rect">
            <a:avLst/>
          </a:prstGeom>
          <a:solidFill>
            <a:srgbClr val="F5F5F5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cs-CZ"/>
          </a:p>
        </p:txBody>
      </p:sp>
      <p:sp>
        <p:nvSpPr>
          <p:cNvPr id="160837" name="Text Box 69"/>
          <p:cNvSpPr txBox="1">
            <a:spLocks noChangeArrowheads="1"/>
          </p:cNvSpPr>
          <p:nvPr/>
        </p:nvSpPr>
        <p:spPr bwMode="auto">
          <a:xfrm>
            <a:off x="647700" y="6416675"/>
            <a:ext cx="7839075" cy="207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ctr">
              <a:spcBef>
                <a:spcPct val="50000"/>
              </a:spcBef>
              <a:defRPr/>
            </a:pPr>
            <a:r>
              <a:rPr lang="sv-SE" sz="800">
                <a:solidFill>
                  <a:schemeClr val="bg2"/>
                </a:solidFill>
              </a:rPr>
              <a:t> </a:t>
            </a:r>
          </a:p>
        </p:txBody>
      </p:sp>
      <p:sp>
        <p:nvSpPr>
          <p:cNvPr id="160848" name="Rectangle 80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515350" y="6632575"/>
            <a:ext cx="520700" cy="225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800">
                <a:solidFill>
                  <a:schemeClr val="hlink"/>
                </a:solidFill>
              </a:defRPr>
            </a:lvl1pPr>
          </a:lstStyle>
          <a:p>
            <a:pPr>
              <a:defRPr/>
            </a:pPr>
            <a:fld id="{8516E99C-B18A-46CF-B1E7-42534D39E9CE}" type="slidenum">
              <a:rPr lang="sv-SE"/>
              <a:pPr>
                <a:defRPr/>
              </a:pPr>
              <a:t>‹#›</a:t>
            </a:fld>
            <a:endParaRPr lang="sv-SE"/>
          </a:p>
        </p:txBody>
      </p:sp>
      <p:sp>
        <p:nvSpPr>
          <p:cNvPr id="160849" name="Text Box 81">
            <a:hlinkClick r:id="" action="ppaction://hlinkshowjump?jump=previousslide"/>
          </p:cNvPr>
          <p:cNvSpPr txBox="1">
            <a:spLocks noChangeArrowheads="1"/>
          </p:cNvSpPr>
          <p:nvPr/>
        </p:nvSpPr>
        <p:spPr bwMode="auto">
          <a:xfrm>
            <a:off x="103188" y="6416675"/>
            <a:ext cx="544512" cy="207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>
              <a:spcBef>
                <a:spcPct val="50000"/>
              </a:spcBef>
              <a:defRPr/>
            </a:pPr>
            <a:r>
              <a:rPr lang="sv-SE" sz="800">
                <a:solidFill>
                  <a:schemeClr val="hlink"/>
                </a:solidFill>
                <a:cs typeface="Arial" charset="0"/>
              </a:rPr>
              <a:t>◄</a:t>
            </a:r>
          </a:p>
        </p:txBody>
      </p:sp>
      <p:sp>
        <p:nvSpPr>
          <p:cNvPr id="160850" name="Text Box 82">
            <a:hlinkClick r:id="" action="ppaction://hlinkshowjump?jump=nextslide"/>
          </p:cNvPr>
          <p:cNvSpPr txBox="1">
            <a:spLocks noChangeArrowheads="1"/>
          </p:cNvSpPr>
          <p:nvPr/>
        </p:nvSpPr>
        <p:spPr bwMode="auto">
          <a:xfrm>
            <a:off x="8486775" y="6424613"/>
            <a:ext cx="544513" cy="207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algn="r">
              <a:spcBef>
                <a:spcPct val="50000"/>
              </a:spcBef>
              <a:defRPr/>
            </a:pPr>
            <a:r>
              <a:rPr lang="sv-SE" sz="800">
                <a:solidFill>
                  <a:schemeClr val="hlink"/>
                </a:solidFill>
                <a:cs typeface="Arial" charset="0"/>
              </a:rPr>
              <a:t>►</a:t>
            </a:r>
          </a:p>
        </p:txBody>
      </p:sp>
      <p:sp>
        <p:nvSpPr>
          <p:cNvPr id="1032" name="Rectangle 83"/>
          <p:cNvSpPr>
            <a:spLocks noGrp="1" noChangeArrowheads="1"/>
          </p:cNvSpPr>
          <p:nvPr>
            <p:ph type="title"/>
          </p:nvPr>
        </p:nvSpPr>
        <p:spPr bwMode="auto">
          <a:xfrm>
            <a:off x="647700" y="1089025"/>
            <a:ext cx="7848600" cy="719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sv-SE" smtClean="0"/>
              <a:t>Klicka här för att ändra format</a:t>
            </a:r>
          </a:p>
        </p:txBody>
      </p:sp>
      <p:sp>
        <p:nvSpPr>
          <p:cNvPr id="1033" name="Rectangle 84"/>
          <p:cNvSpPr>
            <a:spLocks noGrp="1" noChangeArrowheads="1"/>
          </p:cNvSpPr>
          <p:nvPr>
            <p:ph type="body" idx="1"/>
          </p:nvPr>
        </p:nvSpPr>
        <p:spPr bwMode="auto">
          <a:xfrm>
            <a:off x="574675" y="1808163"/>
            <a:ext cx="7993063" cy="45005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2000" tIns="0" rIns="7200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sv-SE" smtClean="0"/>
              <a:t>Klicka här för att ändra format på bakgrundstexten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</a:p>
        </p:txBody>
      </p:sp>
      <p:sp>
        <p:nvSpPr>
          <p:cNvPr id="160913" name="Rectangle 14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933450" y="6632575"/>
            <a:ext cx="7277100" cy="2254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>
              <a:defRPr sz="800">
                <a:solidFill>
                  <a:schemeClr val="hlink"/>
                </a:solidFill>
              </a:defRPr>
            </a:lvl1pPr>
          </a:lstStyle>
          <a:p>
            <a:pPr>
              <a:defRPr/>
            </a:pPr>
            <a:endParaRPr lang="sv-SE"/>
          </a:p>
        </p:txBody>
      </p:sp>
      <p:sp>
        <p:nvSpPr>
          <p:cNvPr id="160914" name="Rectangle 146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107950" y="6632575"/>
            <a:ext cx="827088" cy="2254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sz="800">
                <a:solidFill>
                  <a:schemeClr val="hlink"/>
                </a:solidFill>
              </a:defRPr>
            </a:lvl1pPr>
          </a:lstStyle>
          <a:p>
            <a:pPr>
              <a:defRPr/>
            </a:pPr>
            <a:fld id="{38804247-EAEA-459F-A511-56467E2C45D2}" type="datetime1">
              <a:rPr lang="sv-SE" smtClean="0"/>
              <a:t>2020-01-09</a:t>
            </a:fld>
            <a:endParaRPr lang="sv-SE"/>
          </a:p>
        </p:txBody>
      </p:sp>
      <p:grpSp>
        <p:nvGrpSpPr>
          <p:cNvPr id="1036" name="Group 148"/>
          <p:cNvGrpSpPr>
            <a:grpSpLocks/>
          </p:cNvGrpSpPr>
          <p:nvPr/>
        </p:nvGrpSpPr>
        <p:grpSpPr bwMode="auto">
          <a:xfrm>
            <a:off x="7653338" y="177800"/>
            <a:ext cx="1166812" cy="338138"/>
            <a:chOff x="3560" y="1931"/>
            <a:chExt cx="1580" cy="459"/>
          </a:xfrm>
        </p:grpSpPr>
        <p:sp>
          <p:nvSpPr>
            <p:cNvPr id="160917" name="Freeform 149"/>
            <p:cNvSpPr>
              <a:spLocks noEditPoints="1"/>
            </p:cNvSpPr>
            <p:nvPr/>
          </p:nvSpPr>
          <p:spPr bwMode="auto">
            <a:xfrm>
              <a:off x="4732" y="1993"/>
              <a:ext cx="408" cy="394"/>
            </a:xfrm>
            <a:custGeom>
              <a:avLst/>
              <a:gdLst/>
              <a:ahLst/>
              <a:cxnLst>
                <a:cxn ang="0">
                  <a:pos x="326" y="307"/>
                </a:cxn>
                <a:cxn ang="0">
                  <a:pos x="326" y="347"/>
                </a:cxn>
                <a:cxn ang="0">
                  <a:pos x="83" y="347"/>
                </a:cxn>
                <a:cxn ang="0">
                  <a:pos x="83" y="307"/>
                </a:cxn>
                <a:cxn ang="0">
                  <a:pos x="204" y="187"/>
                </a:cxn>
                <a:cxn ang="0">
                  <a:pos x="326" y="307"/>
                </a:cxn>
                <a:cxn ang="0">
                  <a:pos x="326" y="307"/>
                </a:cxn>
                <a:cxn ang="0">
                  <a:pos x="409" y="130"/>
                </a:cxn>
                <a:cxn ang="0">
                  <a:pos x="260" y="130"/>
                </a:cxn>
                <a:cxn ang="0">
                  <a:pos x="355" y="35"/>
                </a:cxn>
                <a:cxn ang="0">
                  <a:pos x="322" y="0"/>
                </a:cxn>
                <a:cxn ang="0">
                  <a:pos x="204" y="118"/>
                </a:cxn>
                <a:cxn ang="0">
                  <a:pos x="85" y="0"/>
                </a:cxn>
                <a:cxn ang="0">
                  <a:pos x="50" y="33"/>
                </a:cxn>
                <a:cxn ang="0">
                  <a:pos x="149" y="130"/>
                </a:cxn>
                <a:cxn ang="0">
                  <a:pos x="0" y="130"/>
                </a:cxn>
                <a:cxn ang="0">
                  <a:pos x="0" y="175"/>
                </a:cxn>
                <a:cxn ang="0">
                  <a:pos x="147" y="175"/>
                </a:cxn>
                <a:cxn ang="0">
                  <a:pos x="33" y="288"/>
                </a:cxn>
                <a:cxn ang="0">
                  <a:pos x="33" y="395"/>
                </a:cxn>
                <a:cxn ang="0">
                  <a:pos x="374" y="395"/>
                </a:cxn>
                <a:cxn ang="0">
                  <a:pos x="374" y="288"/>
                </a:cxn>
                <a:cxn ang="0">
                  <a:pos x="260" y="175"/>
                </a:cxn>
                <a:cxn ang="0">
                  <a:pos x="409" y="175"/>
                </a:cxn>
                <a:cxn ang="0">
                  <a:pos x="409" y="130"/>
                </a:cxn>
                <a:cxn ang="0">
                  <a:pos x="409" y="130"/>
                </a:cxn>
              </a:cxnLst>
              <a:rect l="0" t="0" r="r" b="b"/>
              <a:pathLst>
                <a:path w="409" h="395">
                  <a:moveTo>
                    <a:pt x="326" y="307"/>
                  </a:moveTo>
                  <a:lnTo>
                    <a:pt x="326" y="347"/>
                  </a:lnTo>
                  <a:lnTo>
                    <a:pt x="83" y="347"/>
                  </a:lnTo>
                  <a:lnTo>
                    <a:pt x="83" y="307"/>
                  </a:lnTo>
                  <a:lnTo>
                    <a:pt x="204" y="187"/>
                  </a:lnTo>
                  <a:lnTo>
                    <a:pt x="326" y="307"/>
                  </a:lnTo>
                  <a:lnTo>
                    <a:pt x="326" y="307"/>
                  </a:lnTo>
                  <a:close/>
                  <a:moveTo>
                    <a:pt x="409" y="130"/>
                  </a:moveTo>
                  <a:lnTo>
                    <a:pt x="260" y="130"/>
                  </a:lnTo>
                  <a:lnTo>
                    <a:pt x="355" y="35"/>
                  </a:lnTo>
                  <a:lnTo>
                    <a:pt x="322" y="0"/>
                  </a:lnTo>
                  <a:lnTo>
                    <a:pt x="204" y="118"/>
                  </a:lnTo>
                  <a:lnTo>
                    <a:pt x="85" y="0"/>
                  </a:lnTo>
                  <a:lnTo>
                    <a:pt x="50" y="33"/>
                  </a:lnTo>
                  <a:lnTo>
                    <a:pt x="149" y="130"/>
                  </a:lnTo>
                  <a:lnTo>
                    <a:pt x="0" y="130"/>
                  </a:lnTo>
                  <a:lnTo>
                    <a:pt x="0" y="175"/>
                  </a:lnTo>
                  <a:lnTo>
                    <a:pt x="147" y="175"/>
                  </a:lnTo>
                  <a:lnTo>
                    <a:pt x="33" y="288"/>
                  </a:lnTo>
                  <a:lnTo>
                    <a:pt x="33" y="395"/>
                  </a:lnTo>
                  <a:lnTo>
                    <a:pt x="374" y="395"/>
                  </a:lnTo>
                  <a:lnTo>
                    <a:pt x="374" y="288"/>
                  </a:lnTo>
                  <a:lnTo>
                    <a:pt x="260" y="175"/>
                  </a:lnTo>
                  <a:lnTo>
                    <a:pt x="409" y="175"/>
                  </a:lnTo>
                  <a:lnTo>
                    <a:pt x="409" y="130"/>
                  </a:lnTo>
                  <a:lnTo>
                    <a:pt x="409" y="130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cs-CZ"/>
            </a:p>
          </p:txBody>
        </p:sp>
        <p:sp>
          <p:nvSpPr>
            <p:cNvPr id="160918" name="Oval 150"/>
            <p:cNvSpPr>
              <a:spLocks noChangeArrowheads="1"/>
            </p:cNvSpPr>
            <p:nvPr/>
          </p:nvSpPr>
          <p:spPr bwMode="auto">
            <a:xfrm>
              <a:off x="4886" y="1931"/>
              <a:ext cx="97" cy="97"/>
            </a:xfrm>
            <a:prstGeom prst="ellipse">
              <a:avLst/>
            </a:prstGeom>
            <a:solidFill>
              <a:srgbClr val="E41A1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cs-CZ"/>
            </a:p>
          </p:txBody>
        </p:sp>
        <p:sp>
          <p:nvSpPr>
            <p:cNvPr id="160919" name="Freeform 151"/>
            <p:cNvSpPr>
              <a:spLocks noEditPoints="1"/>
            </p:cNvSpPr>
            <p:nvPr/>
          </p:nvSpPr>
          <p:spPr bwMode="auto">
            <a:xfrm>
              <a:off x="4439" y="2192"/>
              <a:ext cx="196" cy="198"/>
            </a:xfrm>
            <a:custGeom>
              <a:avLst/>
              <a:gdLst/>
              <a:ahLst/>
              <a:cxnLst>
                <a:cxn ang="0">
                  <a:pos x="42" y="0"/>
                </a:cxn>
                <a:cxn ang="0">
                  <a:pos x="83" y="42"/>
                </a:cxn>
                <a:cxn ang="0">
                  <a:pos x="42" y="84"/>
                </a:cxn>
                <a:cxn ang="0">
                  <a:pos x="0" y="42"/>
                </a:cxn>
                <a:cxn ang="0">
                  <a:pos x="42" y="0"/>
                </a:cxn>
                <a:cxn ang="0">
                  <a:pos x="42" y="68"/>
                </a:cxn>
                <a:cxn ang="0">
                  <a:pos x="60" y="42"/>
                </a:cxn>
                <a:cxn ang="0">
                  <a:pos x="42" y="16"/>
                </a:cxn>
                <a:cxn ang="0">
                  <a:pos x="23" y="42"/>
                </a:cxn>
                <a:cxn ang="0">
                  <a:pos x="42" y="68"/>
                </a:cxn>
              </a:cxnLst>
              <a:rect l="0" t="0" r="r" b="b"/>
              <a:pathLst>
                <a:path w="83" h="84">
                  <a:moveTo>
                    <a:pt x="42" y="0"/>
                  </a:moveTo>
                  <a:cubicBezTo>
                    <a:pt x="69" y="0"/>
                    <a:pt x="83" y="15"/>
                    <a:pt x="83" y="42"/>
                  </a:cubicBezTo>
                  <a:cubicBezTo>
                    <a:pt x="83" y="68"/>
                    <a:pt x="69" y="84"/>
                    <a:pt x="42" y="84"/>
                  </a:cubicBezTo>
                  <a:cubicBezTo>
                    <a:pt x="15" y="84"/>
                    <a:pt x="0" y="68"/>
                    <a:pt x="0" y="42"/>
                  </a:cubicBezTo>
                  <a:cubicBezTo>
                    <a:pt x="0" y="15"/>
                    <a:pt x="15" y="0"/>
                    <a:pt x="42" y="0"/>
                  </a:cubicBezTo>
                  <a:moveTo>
                    <a:pt x="42" y="68"/>
                  </a:moveTo>
                  <a:cubicBezTo>
                    <a:pt x="55" y="68"/>
                    <a:pt x="60" y="55"/>
                    <a:pt x="60" y="42"/>
                  </a:cubicBezTo>
                  <a:cubicBezTo>
                    <a:pt x="60" y="28"/>
                    <a:pt x="55" y="16"/>
                    <a:pt x="42" y="16"/>
                  </a:cubicBezTo>
                  <a:cubicBezTo>
                    <a:pt x="28" y="16"/>
                    <a:pt x="23" y="28"/>
                    <a:pt x="23" y="42"/>
                  </a:cubicBezTo>
                  <a:cubicBezTo>
                    <a:pt x="23" y="55"/>
                    <a:pt x="28" y="68"/>
                    <a:pt x="42" y="68"/>
                  </a:cubicBez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cs-CZ"/>
            </a:p>
          </p:txBody>
        </p:sp>
        <p:sp>
          <p:nvSpPr>
            <p:cNvPr id="160920" name="Freeform 152"/>
            <p:cNvSpPr>
              <a:spLocks/>
            </p:cNvSpPr>
            <p:nvPr/>
          </p:nvSpPr>
          <p:spPr bwMode="auto">
            <a:xfrm>
              <a:off x="4233" y="2192"/>
              <a:ext cx="170" cy="198"/>
            </a:xfrm>
            <a:custGeom>
              <a:avLst/>
              <a:gdLst/>
              <a:ahLst/>
              <a:cxnLst>
                <a:cxn ang="0">
                  <a:pos x="48" y="0"/>
                </a:cxn>
                <a:cxn ang="0">
                  <a:pos x="72" y="3"/>
                </a:cxn>
                <a:cxn ang="0">
                  <a:pos x="70" y="21"/>
                </a:cxn>
                <a:cxn ang="0">
                  <a:pos x="49" y="16"/>
                </a:cxn>
                <a:cxn ang="0">
                  <a:pos x="22" y="42"/>
                </a:cxn>
                <a:cxn ang="0">
                  <a:pos x="50" y="68"/>
                </a:cxn>
                <a:cxn ang="0">
                  <a:pos x="71" y="64"/>
                </a:cxn>
                <a:cxn ang="0">
                  <a:pos x="72" y="81"/>
                </a:cxn>
                <a:cxn ang="0">
                  <a:pos x="72" y="81"/>
                </a:cxn>
                <a:cxn ang="0">
                  <a:pos x="48" y="84"/>
                </a:cxn>
                <a:cxn ang="0">
                  <a:pos x="0" y="42"/>
                </a:cxn>
                <a:cxn ang="0">
                  <a:pos x="48" y="0"/>
                </a:cxn>
              </a:cxnLst>
              <a:rect l="0" t="0" r="r" b="b"/>
              <a:pathLst>
                <a:path w="72" h="84">
                  <a:moveTo>
                    <a:pt x="48" y="0"/>
                  </a:moveTo>
                  <a:cubicBezTo>
                    <a:pt x="56" y="0"/>
                    <a:pt x="64" y="2"/>
                    <a:pt x="72" y="3"/>
                  </a:cubicBezTo>
                  <a:cubicBezTo>
                    <a:pt x="70" y="21"/>
                    <a:pt x="70" y="21"/>
                    <a:pt x="70" y="21"/>
                  </a:cubicBezTo>
                  <a:cubicBezTo>
                    <a:pt x="63" y="18"/>
                    <a:pt x="56" y="16"/>
                    <a:pt x="49" y="16"/>
                  </a:cubicBezTo>
                  <a:cubicBezTo>
                    <a:pt x="33" y="16"/>
                    <a:pt x="22" y="27"/>
                    <a:pt x="22" y="42"/>
                  </a:cubicBezTo>
                  <a:cubicBezTo>
                    <a:pt x="22" y="58"/>
                    <a:pt x="34" y="68"/>
                    <a:pt x="50" y="68"/>
                  </a:cubicBezTo>
                  <a:cubicBezTo>
                    <a:pt x="58" y="68"/>
                    <a:pt x="65" y="66"/>
                    <a:pt x="71" y="64"/>
                  </a:cubicBezTo>
                  <a:cubicBezTo>
                    <a:pt x="72" y="81"/>
                    <a:pt x="72" y="81"/>
                    <a:pt x="72" y="81"/>
                  </a:cubicBezTo>
                  <a:cubicBezTo>
                    <a:pt x="72" y="81"/>
                    <a:pt x="72" y="81"/>
                    <a:pt x="72" y="81"/>
                  </a:cubicBezTo>
                  <a:cubicBezTo>
                    <a:pt x="66" y="82"/>
                    <a:pt x="58" y="84"/>
                    <a:pt x="48" y="84"/>
                  </a:cubicBezTo>
                  <a:cubicBezTo>
                    <a:pt x="25" y="84"/>
                    <a:pt x="0" y="73"/>
                    <a:pt x="0" y="42"/>
                  </a:cubicBezTo>
                  <a:cubicBezTo>
                    <a:pt x="0" y="13"/>
                    <a:pt x="21" y="0"/>
                    <a:pt x="48" y="0"/>
                  </a:cubicBezTo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cs-CZ"/>
            </a:p>
          </p:txBody>
        </p:sp>
        <p:sp>
          <p:nvSpPr>
            <p:cNvPr id="160921" name="Freeform 153"/>
            <p:cNvSpPr>
              <a:spLocks/>
            </p:cNvSpPr>
            <p:nvPr/>
          </p:nvSpPr>
          <p:spPr bwMode="auto">
            <a:xfrm>
              <a:off x="4054" y="2194"/>
              <a:ext cx="138" cy="194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37" y="0"/>
                </a:cxn>
                <a:cxn ang="0">
                  <a:pos x="137" y="35"/>
                </a:cxn>
                <a:cxn ang="0">
                  <a:pos x="49" y="35"/>
                </a:cxn>
                <a:cxn ang="0">
                  <a:pos x="49" y="75"/>
                </a:cxn>
                <a:cxn ang="0">
                  <a:pos x="130" y="75"/>
                </a:cxn>
                <a:cxn ang="0">
                  <a:pos x="130" y="113"/>
                </a:cxn>
                <a:cxn ang="0">
                  <a:pos x="49" y="113"/>
                </a:cxn>
                <a:cxn ang="0">
                  <a:pos x="49" y="156"/>
                </a:cxn>
                <a:cxn ang="0">
                  <a:pos x="139" y="156"/>
                </a:cxn>
                <a:cxn ang="0">
                  <a:pos x="139" y="194"/>
                </a:cxn>
                <a:cxn ang="0">
                  <a:pos x="0" y="194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w="139" h="194">
                  <a:moveTo>
                    <a:pt x="0" y="0"/>
                  </a:moveTo>
                  <a:lnTo>
                    <a:pt x="137" y="0"/>
                  </a:lnTo>
                  <a:lnTo>
                    <a:pt x="137" y="35"/>
                  </a:lnTo>
                  <a:lnTo>
                    <a:pt x="49" y="35"/>
                  </a:lnTo>
                  <a:lnTo>
                    <a:pt x="49" y="75"/>
                  </a:lnTo>
                  <a:lnTo>
                    <a:pt x="130" y="75"/>
                  </a:lnTo>
                  <a:lnTo>
                    <a:pt x="130" y="113"/>
                  </a:lnTo>
                  <a:lnTo>
                    <a:pt x="49" y="113"/>
                  </a:lnTo>
                  <a:lnTo>
                    <a:pt x="49" y="156"/>
                  </a:lnTo>
                  <a:lnTo>
                    <a:pt x="139" y="156"/>
                  </a:lnTo>
                  <a:lnTo>
                    <a:pt x="139" y="194"/>
                  </a:lnTo>
                  <a:lnTo>
                    <a:pt x="0" y="194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cs-CZ"/>
            </a:p>
          </p:txBody>
        </p:sp>
        <p:sp>
          <p:nvSpPr>
            <p:cNvPr id="160922" name="Freeform 154"/>
            <p:cNvSpPr>
              <a:spLocks/>
            </p:cNvSpPr>
            <p:nvPr/>
          </p:nvSpPr>
          <p:spPr bwMode="auto">
            <a:xfrm>
              <a:off x="3741" y="2194"/>
              <a:ext cx="273" cy="194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54" y="0"/>
                </a:cxn>
                <a:cxn ang="0">
                  <a:pos x="77" y="149"/>
                </a:cxn>
                <a:cxn ang="0">
                  <a:pos x="80" y="149"/>
                </a:cxn>
                <a:cxn ang="0">
                  <a:pos x="103" y="0"/>
                </a:cxn>
                <a:cxn ang="0">
                  <a:pos x="170" y="0"/>
                </a:cxn>
                <a:cxn ang="0">
                  <a:pos x="198" y="149"/>
                </a:cxn>
                <a:cxn ang="0">
                  <a:pos x="224" y="0"/>
                </a:cxn>
                <a:cxn ang="0">
                  <a:pos x="273" y="0"/>
                </a:cxn>
                <a:cxn ang="0">
                  <a:pos x="231" y="194"/>
                </a:cxn>
                <a:cxn ang="0">
                  <a:pos x="165" y="194"/>
                </a:cxn>
                <a:cxn ang="0">
                  <a:pos x="137" y="42"/>
                </a:cxn>
                <a:cxn ang="0">
                  <a:pos x="111" y="194"/>
                </a:cxn>
                <a:cxn ang="0">
                  <a:pos x="42" y="194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w="273" h="194">
                  <a:moveTo>
                    <a:pt x="0" y="0"/>
                  </a:moveTo>
                  <a:lnTo>
                    <a:pt x="54" y="0"/>
                  </a:lnTo>
                  <a:lnTo>
                    <a:pt x="77" y="149"/>
                  </a:lnTo>
                  <a:lnTo>
                    <a:pt x="80" y="149"/>
                  </a:lnTo>
                  <a:lnTo>
                    <a:pt x="103" y="0"/>
                  </a:lnTo>
                  <a:lnTo>
                    <a:pt x="170" y="0"/>
                  </a:lnTo>
                  <a:lnTo>
                    <a:pt x="198" y="149"/>
                  </a:lnTo>
                  <a:lnTo>
                    <a:pt x="224" y="0"/>
                  </a:lnTo>
                  <a:lnTo>
                    <a:pt x="273" y="0"/>
                  </a:lnTo>
                  <a:lnTo>
                    <a:pt x="231" y="194"/>
                  </a:lnTo>
                  <a:lnTo>
                    <a:pt x="165" y="194"/>
                  </a:lnTo>
                  <a:lnTo>
                    <a:pt x="137" y="42"/>
                  </a:lnTo>
                  <a:lnTo>
                    <a:pt x="111" y="194"/>
                  </a:lnTo>
                  <a:lnTo>
                    <a:pt x="42" y="194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cs-CZ"/>
            </a:p>
          </p:txBody>
        </p:sp>
        <p:sp>
          <p:nvSpPr>
            <p:cNvPr id="160923" name="Freeform 155"/>
            <p:cNvSpPr>
              <a:spLocks/>
            </p:cNvSpPr>
            <p:nvPr/>
          </p:nvSpPr>
          <p:spPr bwMode="auto">
            <a:xfrm>
              <a:off x="3560" y="2192"/>
              <a:ext cx="146" cy="198"/>
            </a:xfrm>
            <a:custGeom>
              <a:avLst/>
              <a:gdLst/>
              <a:ahLst/>
              <a:cxnLst>
                <a:cxn ang="0">
                  <a:pos x="36" y="0"/>
                </a:cxn>
                <a:cxn ang="0">
                  <a:pos x="58" y="2"/>
                </a:cxn>
                <a:cxn ang="0">
                  <a:pos x="56" y="19"/>
                </a:cxn>
                <a:cxn ang="0">
                  <a:pos x="38" y="16"/>
                </a:cxn>
                <a:cxn ang="0">
                  <a:pos x="22" y="23"/>
                </a:cxn>
                <a:cxn ang="0">
                  <a:pos x="62" y="57"/>
                </a:cxn>
                <a:cxn ang="0">
                  <a:pos x="25" y="84"/>
                </a:cxn>
                <a:cxn ang="0">
                  <a:pos x="1" y="81"/>
                </a:cxn>
                <a:cxn ang="0">
                  <a:pos x="3" y="63"/>
                </a:cxn>
                <a:cxn ang="0">
                  <a:pos x="3" y="63"/>
                </a:cxn>
                <a:cxn ang="0">
                  <a:pos x="25" y="68"/>
                </a:cxn>
                <a:cxn ang="0">
                  <a:pos x="39" y="60"/>
                </a:cxn>
                <a:cxn ang="0">
                  <a:pos x="0" y="25"/>
                </a:cxn>
                <a:cxn ang="0">
                  <a:pos x="36" y="0"/>
                </a:cxn>
              </a:cxnLst>
              <a:rect l="0" t="0" r="r" b="b"/>
              <a:pathLst>
                <a:path w="62" h="84">
                  <a:moveTo>
                    <a:pt x="36" y="0"/>
                  </a:moveTo>
                  <a:cubicBezTo>
                    <a:pt x="44" y="0"/>
                    <a:pt x="51" y="1"/>
                    <a:pt x="58" y="2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0" y="17"/>
                    <a:pt x="44" y="16"/>
                    <a:pt x="38" y="16"/>
                  </a:cubicBezTo>
                  <a:cubicBezTo>
                    <a:pt x="32" y="16"/>
                    <a:pt x="22" y="16"/>
                    <a:pt x="22" y="23"/>
                  </a:cubicBezTo>
                  <a:cubicBezTo>
                    <a:pt x="22" y="37"/>
                    <a:pt x="62" y="28"/>
                    <a:pt x="62" y="57"/>
                  </a:cubicBezTo>
                  <a:cubicBezTo>
                    <a:pt x="62" y="79"/>
                    <a:pt x="44" y="84"/>
                    <a:pt x="25" y="84"/>
                  </a:cubicBezTo>
                  <a:cubicBezTo>
                    <a:pt x="18" y="84"/>
                    <a:pt x="8" y="83"/>
                    <a:pt x="1" y="81"/>
                  </a:cubicBezTo>
                  <a:cubicBezTo>
                    <a:pt x="3" y="63"/>
                    <a:pt x="3" y="63"/>
                    <a:pt x="3" y="63"/>
                  </a:cubicBezTo>
                  <a:cubicBezTo>
                    <a:pt x="3" y="63"/>
                    <a:pt x="3" y="63"/>
                    <a:pt x="3" y="63"/>
                  </a:cubicBezTo>
                  <a:cubicBezTo>
                    <a:pt x="9" y="65"/>
                    <a:pt x="16" y="68"/>
                    <a:pt x="25" y="68"/>
                  </a:cubicBezTo>
                  <a:cubicBezTo>
                    <a:pt x="32" y="68"/>
                    <a:pt x="39" y="66"/>
                    <a:pt x="39" y="60"/>
                  </a:cubicBezTo>
                  <a:cubicBezTo>
                    <a:pt x="39" y="45"/>
                    <a:pt x="0" y="55"/>
                    <a:pt x="0" y="25"/>
                  </a:cubicBezTo>
                  <a:cubicBezTo>
                    <a:pt x="0" y="5"/>
                    <a:pt x="20" y="0"/>
                    <a:pt x="36" y="0"/>
                  </a:cubicBezTo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cs-CZ"/>
            </a:p>
          </p:txBody>
        </p:sp>
      </p:grpSp>
      <p:sp>
        <p:nvSpPr>
          <p:cNvPr id="160924" name="Rectangle 156">
            <a:hlinkClick r:id="rId17" action="ppaction://hlinksldjump"/>
          </p:cNvPr>
          <p:cNvSpPr>
            <a:spLocks noChangeArrowheads="1"/>
          </p:cNvSpPr>
          <p:nvPr/>
        </p:nvSpPr>
        <p:spPr bwMode="auto">
          <a:xfrm>
            <a:off x="7416800" y="0"/>
            <a:ext cx="1614488" cy="692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cs-CZ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38" r:id="rId1"/>
    <p:sldLayoutId id="2147483816" r:id="rId2"/>
    <p:sldLayoutId id="2147483817" r:id="rId3"/>
    <p:sldLayoutId id="2147483818" r:id="rId4"/>
    <p:sldLayoutId id="2147483819" r:id="rId5"/>
    <p:sldLayoutId id="2147483820" r:id="rId6"/>
    <p:sldLayoutId id="2147483821" r:id="rId7"/>
    <p:sldLayoutId id="2147483822" r:id="rId8"/>
    <p:sldLayoutId id="2147483823" r:id="rId9"/>
    <p:sldLayoutId id="2147483824" r:id="rId10"/>
    <p:sldLayoutId id="2147483825" r:id="rId11"/>
    <p:sldLayoutId id="2147483826" r:id="rId12"/>
    <p:sldLayoutId id="2147483827" r:id="rId13"/>
    <p:sldLayoutId id="2147483840" r:id="rId14"/>
    <p:sldLayoutId id="2147483841" r:id="rId1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</a:defRPr>
      </a:lvl9pPr>
    </p:titleStyle>
    <p:bodyStyle>
      <a:lvl1pPr marL="342900" indent="-342900" algn="l" rtl="0" eaLnBrk="0" fontAlgn="base" hangingPunct="0">
        <a:lnSpc>
          <a:spcPct val="110000"/>
        </a:lnSpc>
        <a:spcBef>
          <a:spcPct val="30000"/>
        </a:spcBef>
        <a:spcAft>
          <a:spcPct val="30000"/>
        </a:spcAft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0975" algn="l" rtl="0" eaLnBrk="0" fontAlgn="base" hangingPunct="0">
        <a:lnSpc>
          <a:spcPct val="110000"/>
        </a:lnSpc>
        <a:spcBef>
          <a:spcPct val="20000"/>
        </a:spcBef>
        <a:spcAft>
          <a:spcPct val="20000"/>
        </a:spcAft>
        <a:buChar char="•"/>
        <a:defRPr sz="1600">
          <a:solidFill>
            <a:schemeClr val="tx1"/>
          </a:solidFill>
          <a:latin typeface="+mn-lt"/>
        </a:defRPr>
      </a:lvl2pPr>
      <a:lvl3pPr marL="361950" indent="-177800" algn="l" rtl="0" eaLnBrk="0" fontAlgn="base" hangingPunct="0">
        <a:spcBef>
          <a:spcPct val="20000"/>
        </a:spcBef>
        <a:spcAft>
          <a:spcPct val="0"/>
        </a:spcAft>
        <a:buChar char="•"/>
        <a:defRPr sz="1400">
          <a:solidFill>
            <a:schemeClr val="tx1"/>
          </a:solidFill>
          <a:latin typeface="+mn-lt"/>
        </a:defRPr>
      </a:lvl3pPr>
      <a:lvl4pPr marL="541338" indent="-177800" algn="l" rtl="0" eaLnBrk="0" fontAlgn="base" hangingPunct="0">
        <a:spcBef>
          <a:spcPct val="20000"/>
        </a:spcBef>
        <a:spcAft>
          <a:spcPct val="0"/>
        </a:spcAft>
        <a:buChar char="•"/>
        <a:defRPr sz="1200">
          <a:solidFill>
            <a:schemeClr val="tx1"/>
          </a:solidFill>
          <a:latin typeface="+mn-lt"/>
        </a:defRPr>
      </a:lvl4pPr>
      <a:lvl5pPr marL="720725" indent="-177800" algn="l" rtl="0" eaLnBrk="0" fontAlgn="base" hangingPunct="0">
        <a:spcBef>
          <a:spcPct val="20000"/>
        </a:spcBef>
        <a:spcAft>
          <a:spcPct val="0"/>
        </a:spcAft>
        <a:buChar char="•"/>
        <a:defRPr sz="1200">
          <a:solidFill>
            <a:schemeClr val="tx1"/>
          </a:solidFill>
          <a:latin typeface="+mn-lt"/>
        </a:defRPr>
      </a:lvl5pPr>
      <a:lvl6pPr marL="1177925" indent="-177800" algn="l" rtl="0" eaLnBrk="1" fontAlgn="base" hangingPunct="1">
        <a:spcBef>
          <a:spcPct val="20000"/>
        </a:spcBef>
        <a:spcAft>
          <a:spcPct val="0"/>
        </a:spcAft>
        <a:buChar char="•"/>
        <a:defRPr sz="1200">
          <a:solidFill>
            <a:schemeClr val="tx1"/>
          </a:solidFill>
          <a:latin typeface="+mn-lt"/>
        </a:defRPr>
      </a:lvl6pPr>
      <a:lvl7pPr marL="1635125" indent="-177800" algn="l" rtl="0" eaLnBrk="1" fontAlgn="base" hangingPunct="1">
        <a:spcBef>
          <a:spcPct val="20000"/>
        </a:spcBef>
        <a:spcAft>
          <a:spcPct val="0"/>
        </a:spcAft>
        <a:buChar char="•"/>
        <a:defRPr sz="1200">
          <a:solidFill>
            <a:schemeClr val="tx1"/>
          </a:solidFill>
          <a:latin typeface="+mn-lt"/>
        </a:defRPr>
      </a:lvl7pPr>
      <a:lvl8pPr marL="2092325" indent="-177800" algn="l" rtl="0" eaLnBrk="1" fontAlgn="base" hangingPunct="1">
        <a:spcBef>
          <a:spcPct val="20000"/>
        </a:spcBef>
        <a:spcAft>
          <a:spcPct val="0"/>
        </a:spcAft>
        <a:buChar char="•"/>
        <a:defRPr sz="1200">
          <a:solidFill>
            <a:schemeClr val="tx1"/>
          </a:solidFill>
          <a:latin typeface="+mn-lt"/>
        </a:defRPr>
      </a:lvl8pPr>
      <a:lvl9pPr marL="2549525" indent="-177800" algn="l" rtl="0" eaLnBrk="1" fontAlgn="base" hangingPunct="1">
        <a:spcBef>
          <a:spcPct val="20000"/>
        </a:spcBef>
        <a:spcAft>
          <a:spcPct val="0"/>
        </a:spcAft>
        <a:buChar char="•"/>
        <a:defRPr sz="1200">
          <a:solidFill>
            <a:schemeClr val="tx1"/>
          </a:solidFill>
          <a:latin typeface="+mn-lt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9724" name="Rectangle 28"/>
          <p:cNvSpPr>
            <a:spLocks noChangeArrowheads="1"/>
          </p:cNvSpPr>
          <p:nvPr/>
        </p:nvSpPr>
        <p:spPr bwMode="auto">
          <a:xfrm>
            <a:off x="107950" y="800100"/>
            <a:ext cx="8928100" cy="5508625"/>
          </a:xfrm>
          <a:prstGeom prst="rect">
            <a:avLst/>
          </a:prstGeom>
          <a:solidFill>
            <a:srgbClr val="F5F5F5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cs-CZ"/>
          </a:p>
        </p:txBody>
      </p:sp>
      <p:sp>
        <p:nvSpPr>
          <p:cNvPr id="669725" name="Rectangle 29"/>
          <p:cNvSpPr>
            <a:spLocks noChangeArrowheads="1"/>
          </p:cNvSpPr>
          <p:nvPr/>
        </p:nvSpPr>
        <p:spPr bwMode="auto">
          <a:xfrm>
            <a:off x="103188" y="6407150"/>
            <a:ext cx="8932862" cy="225425"/>
          </a:xfrm>
          <a:prstGeom prst="rect">
            <a:avLst/>
          </a:prstGeom>
          <a:solidFill>
            <a:srgbClr val="F5F5F5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cs-CZ"/>
          </a:p>
        </p:txBody>
      </p:sp>
      <p:sp>
        <p:nvSpPr>
          <p:cNvPr id="669726" name="Text Box 30"/>
          <p:cNvSpPr txBox="1">
            <a:spLocks noChangeArrowheads="1"/>
          </p:cNvSpPr>
          <p:nvPr/>
        </p:nvSpPr>
        <p:spPr bwMode="auto">
          <a:xfrm>
            <a:off x="647700" y="6416675"/>
            <a:ext cx="7839075" cy="207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ctr">
              <a:spcBef>
                <a:spcPct val="50000"/>
              </a:spcBef>
              <a:defRPr/>
            </a:pPr>
            <a:r>
              <a:rPr lang="sv-SE" sz="800">
                <a:solidFill>
                  <a:schemeClr val="bg2"/>
                </a:solidFill>
              </a:rPr>
              <a:t> </a:t>
            </a:r>
          </a:p>
        </p:txBody>
      </p:sp>
      <p:sp>
        <p:nvSpPr>
          <p:cNvPr id="669727" name="Rectangle 31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515350" y="6632575"/>
            <a:ext cx="520700" cy="225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800">
                <a:solidFill>
                  <a:schemeClr val="hlink"/>
                </a:solidFill>
              </a:defRPr>
            </a:lvl1pPr>
          </a:lstStyle>
          <a:p>
            <a:pPr>
              <a:defRPr/>
            </a:pPr>
            <a:fld id="{CFA7DD95-AC88-4042-8029-9622FB3A70C9}" type="slidenum">
              <a:rPr lang="sv-SE"/>
              <a:pPr>
                <a:defRPr/>
              </a:pPr>
              <a:t>‹#›</a:t>
            </a:fld>
            <a:endParaRPr lang="sv-SE"/>
          </a:p>
        </p:txBody>
      </p:sp>
      <p:sp>
        <p:nvSpPr>
          <p:cNvPr id="669728" name="Text Box 32">
            <a:hlinkClick r:id="" action="ppaction://hlinkshowjump?jump=previousslide"/>
          </p:cNvPr>
          <p:cNvSpPr txBox="1">
            <a:spLocks noChangeArrowheads="1"/>
          </p:cNvSpPr>
          <p:nvPr/>
        </p:nvSpPr>
        <p:spPr bwMode="auto">
          <a:xfrm>
            <a:off x="103188" y="6416675"/>
            <a:ext cx="544512" cy="207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>
              <a:spcBef>
                <a:spcPct val="50000"/>
              </a:spcBef>
              <a:defRPr/>
            </a:pPr>
            <a:r>
              <a:rPr lang="sv-SE" sz="800">
                <a:solidFill>
                  <a:schemeClr val="hlink"/>
                </a:solidFill>
                <a:cs typeface="Arial" charset="0"/>
              </a:rPr>
              <a:t>◄</a:t>
            </a:r>
          </a:p>
        </p:txBody>
      </p:sp>
      <p:sp>
        <p:nvSpPr>
          <p:cNvPr id="669729" name="Text Box 33">
            <a:hlinkClick r:id="" action="ppaction://hlinkshowjump?jump=nextslide"/>
          </p:cNvPr>
          <p:cNvSpPr txBox="1">
            <a:spLocks noChangeArrowheads="1"/>
          </p:cNvSpPr>
          <p:nvPr/>
        </p:nvSpPr>
        <p:spPr bwMode="auto">
          <a:xfrm>
            <a:off x="8486775" y="6424613"/>
            <a:ext cx="544513" cy="207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algn="r">
              <a:spcBef>
                <a:spcPct val="50000"/>
              </a:spcBef>
              <a:defRPr/>
            </a:pPr>
            <a:r>
              <a:rPr lang="sv-SE" sz="800">
                <a:solidFill>
                  <a:schemeClr val="hlink"/>
                </a:solidFill>
                <a:cs typeface="Arial" charset="0"/>
              </a:rPr>
              <a:t>►</a:t>
            </a:r>
          </a:p>
        </p:txBody>
      </p:sp>
      <p:sp>
        <p:nvSpPr>
          <p:cNvPr id="2056" name="Rectangle 34"/>
          <p:cNvSpPr>
            <a:spLocks noGrp="1" noChangeArrowheads="1"/>
          </p:cNvSpPr>
          <p:nvPr>
            <p:ph type="title"/>
          </p:nvPr>
        </p:nvSpPr>
        <p:spPr bwMode="auto">
          <a:xfrm>
            <a:off x="647700" y="1089025"/>
            <a:ext cx="7848600" cy="719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sv-SE" smtClean="0"/>
              <a:t>Klicka här för att ändra format</a:t>
            </a:r>
          </a:p>
        </p:txBody>
      </p:sp>
      <p:sp>
        <p:nvSpPr>
          <p:cNvPr id="2057" name="Rectangle 35"/>
          <p:cNvSpPr>
            <a:spLocks noGrp="1" noChangeArrowheads="1"/>
          </p:cNvSpPr>
          <p:nvPr>
            <p:ph type="body" idx="1"/>
          </p:nvPr>
        </p:nvSpPr>
        <p:spPr bwMode="auto">
          <a:xfrm>
            <a:off x="574675" y="1808163"/>
            <a:ext cx="7993063" cy="45005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2000" tIns="0" rIns="7200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sv-SE" smtClean="0"/>
              <a:t>Klicka här för att ändra format på bakgrundstexten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</a:p>
        </p:txBody>
      </p:sp>
      <p:sp>
        <p:nvSpPr>
          <p:cNvPr id="669732" name="Rectangle 36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933450" y="6632575"/>
            <a:ext cx="7277100" cy="2254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>
              <a:defRPr sz="800">
                <a:solidFill>
                  <a:schemeClr val="hlink"/>
                </a:solidFill>
              </a:defRPr>
            </a:lvl1pPr>
          </a:lstStyle>
          <a:p>
            <a:pPr>
              <a:defRPr/>
            </a:pPr>
            <a:endParaRPr lang="sv-SE"/>
          </a:p>
        </p:txBody>
      </p:sp>
      <p:sp>
        <p:nvSpPr>
          <p:cNvPr id="669733" name="Rectangle 37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107950" y="6632575"/>
            <a:ext cx="827088" cy="2254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sz="800">
                <a:solidFill>
                  <a:schemeClr val="hlink"/>
                </a:solidFill>
              </a:defRPr>
            </a:lvl1pPr>
          </a:lstStyle>
          <a:p>
            <a:pPr>
              <a:defRPr/>
            </a:pPr>
            <a:fld id="{119E56A3-4A06-4906-A1C4-DC2C7E92FC1E}" type="datetime1">
              <a:rPr lang="sv-SE" smtClean="0"/>
              <a:t>2020-01-09</a:t>
            </a:fld>
            <a:endParaRPr lang="sv-SE"/>
          </a:p>
        </p:txBody>
      </p:sp>
      <p:grpSp>
        <p:nvGrpSpPr>
          <p:cNvPr id="2060" name="Group 38"/>
          <p:cNvGrpSpPr>
            <a:grpSpLocks/>
          </p:cNvGrpSpPr>
          <p:nvPr/>
        </p:nvGrpSpPr>
        <p:grpSpPr bwMode="auto">
          <a:xfrm>
            <a:off x="7653338" y="177800"/>
            <a:ext cx="1166812" cy="338138"/>
            <a:chOff x="3560" y="1931"/>
            <a:chExt cx="1580" cy="459"/>
          </a:xfrm>
        </p:grpSpPr>
        <p:sp>
          <p:nvSpPr>
            <p:cNvPr id="669735" name="Freeform 39"/>
            <p:cNvSpPr>
              <a:spLocks noEditPoints="1"/>
            </p:cNvSpPr>
            <p:nvPr/>
          </p:nvSpPr>
          <p:spPr bwMode="auto">
            <a:xfrm>
              <a:off x="4732" y="1993"/>
              <a:ext cx="408" cy="394"/>
            </a:xfrm>
            <a:custGeom>
              <a:avLst/>
              <a:gdLst/>
              <a:ahLst/>
              <a:cxnLst>
                <a:cxn ang="0">
                  <a:pos x="326" y="307"/>
                </a:cxn>
                <a:cxn ang="0">
                  <a:pos x="326" y="347"/>
                </a:cxn>
                <a:cxn ang="0">
                  <a:pos x="83" y="347"/>
                </a:cxn>
                <a:cxn ang="0">
                  <a:pos x="83" y="307"/>
                </a:cxn>
                <a:cxn ang="0">
                  <a:pos x="204" y="187"/>
                </a:cxn>
                <a:cxn ang="0">
                  <a:pos x="326" y="307"/>
                </a:cxn>
                <a:cxn ang="0">
                  <a:pos x="326" y="307"/>
                </a:cxn>
                <a:cxn ang="0">
                  <a:pos x="409" y="130"/>
                </a:cxn>
                <a:cxn ang="0">
                  <a:pos x="260" y="130"/>
                </a:cxn>
                <a:cxn ang="0">
                  <a:pos x="355" y="35"/>
                </a:cxn>
                <a:cxn ang="0">
                  <a:pos x="322" y="0"/>
                </a:cxn>
                <a:cxn ang="0">
                  <a:pos x="204" y="118"/>
                </a:cxn>
                <a:cxn ang="0">
                  <a:pos x="85" y="0"/>
                </a:cxn>
                <a:cxn ang="0">
                  <a:pos x="50" y="33"/>
                </a:cxn>
                <a:cxn ang="0">
                  <a:pos x="149" y="130"/>
                </a:cxn>
                <a:cxn ang="0">
                  <a:pos x="0" y="130"/>
                </a:cxn>
                <a:cxn ang="0">
                  <a:pos x="0" y="175"/>
                </a:cxn>
                <a:cxn ang="0">
                  <a:pos x="147" y="175"/>
                </a:cxn>
                <a:cxn ang="0">
                  <a:pos x="33" y="288"/>
                </a:cxn>
                <a:cxn ang="0">
                  <a:pos x="33" y="395"/>
                </a:cxn>
                <a:cxn ang="0">
                  <a:pos x="374" y="395"/>
                </a:cxn>
                <a:cxn ang="0">
                  <a:pos x="374" y="288"/>
                </a:cxn>
                <a:cxn ang="0">
                  <a:pos x="260" y="175"/>
                </a:cxn>
                <a:cxn ang="0">
                  <a:pos x="409" y="175"/>
                </a:cxn>
                <a:cxn ang="0">
                  <a:pos x="409" y="130"/>
                </a:cxn>
                <a:cxn ang="0">
                  <a:pos x="409" y="130"/>
                </a:cxn>
              </a:cxnLst>
              <a:rect l="0" t="0" r="r" b="b"/>
              <a:pathLst>
                <a:path w="409" h="395">
                  <a:moveTo>
                    <a:pt x="326" y="307"/>
                  </a:moveTo>
                  <a:lnTo>
                    <a:pt x="326" y="347"/>
                  </a:lnTo>
                  <a:lnTo>
                    <a:pt x="83" y="347"/>
                  </a:lnTo>
                  <a:lnTo>
                    <a:pt x="83" y="307"/>
                  </a:lnTo>
                  <a:lnTo>
                    <a:pt x="204" y="187"/>
                  </a:lnTo>
                  <a:lnTo>
                    <a:pt x="326" y="307"/>
                  </a:lnTo>
                  <a:lnTo>
                    <a:pt x="326" y="307"/>
                  </a:lnTo>
                  <a:close/>
                  <a:moveTo>
                    <a:pt x="409" y="130"/>
                  </a:moveTo>
                  <a:lnTo>
                    <a:pt x="260" y="130"/>
                  </a:lnTo>
                  <a:lnTo>
                    <a:pt x="355" y="35"/>
                  </a:lnTo>
                  <a:lnTo>
                    <a:pt x="322" y="0"/>
                  </a:lnTo>
                  <a:lnTo>
                    <a:pt x="204" y="118"/>
                  </a:lnTo>
                  <a:lnTo>
                    <a:pt x="85" y="0"/>
                  </a:lnTo>
                  <a:lnTo>
                    <a:pt x="50" y="33"/>
                  </a:lnTo>
                  <a:lnTo>
                    <a:pt x="149" y="130"/>
                  </a:lnTo>
                  <a:lnTo>
                    <a:pt x="0" y="130"/>
                  </a:lnTo>
                  <a:lnTo>
                    <a:pt x="0" y="175"/>
                  </a:lnTo>
                  <a:lnTo>
                    <a:pt x="147" y="175"/>
                  </a:lnTo>
                  <a:lnTo>
                    <a:pt x="33" y="288"/>
                  </a:lnTo>
                  <a:lnTo>
                    <a:pt x="33" y="395"/>
                  </a:lnTo>
                  <a:lnTo>
                    <a:pt x="374" y="395"/>
                  </a:lnTo>
                  <a:lnTo>
                    <a:pt x="374" y="288"/>
                  </a:lnTo>
                  <a:lnTo>
                    <a:pt x="260" y="175"/>
                  </a:lnTo>
                  <a:lnTo>
                    <a:pt x="409" y="175"/>
                  </a:lnTo>
                  <a:lnTo>
                    <a:pt x="409" y="130"/>
                  </a:lnTo>
                  <a:lnTo>
                    <a:pt x="409" y="130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cs-CZ"/>
            </a:p>
          </p:txBody>
        </p:sp>
        <p:sp>
          <p:nvSpPr>
            <p:cNvPr id="669736" name="Oval 40"/>
            <p:cNvSpPr>
              <a:spLocks noChangeArrowheads="1"/>
            </p:cNvSpPr>
            <p:nvPr/>
          </p:nvSpPr>
          <p:spPr bwMode="auto">
            <a:xfrm>
              <a:off x="4886" y="1931"/>
              <a:ext cx="97" cy="97"/>
            </a:xfrm>
            <a:prstGeom prst="ellipse">
              <a:avLst/>
            </a:prstGeom>
            <a:solidFill>
              <a:srgbClr val="E41A1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cs-CZ"/>
            </a:p>
          </p:txBody>
        </p:sp>
        <p:sp>
          <p:nvSpPr>
            <p:cNvPr id="669737" name="Freeform 41"/>
            <p:cNvSpPr>
              <a:spLocks noEditPoints="1"/>
            </p:cNvSpPr>
            <p:nvPr/>
          </p:nvSpPr>
          <p:spPr bwMode="auto">
            <a:xfrm>
              <a:off x="4439" y="2192"/>
              <a:ext cx="196" cy="198"/>
            </a:xfrm>
            <a:custGeom>
              <a:avLst/>
              <a:gdLst/>
              <a:ahLst/>
              <a:cxnLst>
                <a:cxn ang="0">
                  <a:pos x="42" y="0"/>
                </a:cxn>
                <a:cxn ang="0">
                  <a:pos x="83" y="42"/>
                </a:cxn>
                <a:cxn ang="0">
                  <a:pos x="42" y="84"/>
                </a:cxn>
                <a:cxn ang="0">
                  <a:pos x="0" y="42"/>
                </a:cxn>
                <a:cxn ang="0">
                  <a:pos x="42" y="0"/>
                </a:cxn>
                <a:cxn ang="0">
                  <a:pos x="42" y="68"/>
                </a:cxn>
                <a:cxn ang="0">
                  <a:pos x="60" y="42"/>
                </a:cxn>
                <a:cxn ang="0">
                  <a:pos x="42" y="16"/>
                </a:cxn>
                <a:cxn ang="0">
                  <a:pos x="23" y="42"/>
                </a:cxn>
                <a:cxn ang="0">
                  <a:pos x="42" y="68"/>
                </a:cxn>
              </a:cxnLst>
              <a:rect l="0" t="0" r="r" b="b"/>
              <a:pathLst>
                <a:path w="83" h="84">
                  <a:moveTo>
                    <a:pt x="42" y="0"/>
                  </a:moveTo>
                  <a:cubicBezTo>
                    <a:pt x="69" y="0"/>
                    <a:pt x="83" y="15"/>
                    <a:pt x="83" y="42"/>
                  </a:cubicBezTo>
                  <a:cubicBezTo>
                    <a:pt x="83" y="68"/>
                    <a:pt x="69" y="84"/>
                    <a:pt x="42" y="84"/>
                  </a:cubicBezTo>
                  <a:cubicBezTo>
                    <a:pt x="15" y="84"/>
                    <a:pt x="0" y="68"/>
                    <a:pt x="0" y="42"/>
                  </a:cubicBezTo>
                  <a:cubicBezTo>
                    <a:pt x="0" y="15"/>
                    <a:pt x="15" y="0"/>
                    <a:pt x="42" y="0"/>
                  </a:cubicBezTo>
                  <a:moveTo>
                    <a:pt x="42" y="68"/>
                  </a:moveTo>
                  <a:cubicBezTo>
                    <a:pt x="55" y="68"/>
                    <a:pt x="60" y="55"/>
                    <a:pt x="60" y="42"/>
                  </a:cubicBezTo>
                  <a:cubicBezTo>
                    <a:pt x="60" y="28"/>
                    <a:pt x="55" y="16"/>
                    <a:pt x="42" y="16"/>
                  </a:cubicBezTo>
                  <a:cubicBezTo>
                    <a:pt x="28" y="16"/>
                    <a:pt x="23" y="28"/>
                    <a:pt x="23" y="42"/>
                  </a:cubicBezTo>
                  <a:cubicBezTo>
                    <a:pt x="23" y="55"/>
                    <a:pt x="28" y="68"/>
                    <a:pt x="42" y="68"/>
                  </a:cubicBez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cs-CZ"/>
            </a:p>
          </p:txBody>
        </p:sp>
        <p:sp>
          <p:nvSpPr>
            <p:cNvPr id="669738" name="Freeform 42"/>
            <p:cNvSpPr>
              <a:spLocks/>
            </p:cNvSpPr>
            <p:nvPr/>
          </p:nvSpPr>
          <p:spPr bwMode="auto">
            <a:xfrm>
              <a:off x="4233" y="2192"/>
              <a:ext cx="170" cy="198"/>
            </a:xfrm>
            <a:custGeom>
              <a:avLst/>
              <a:gdLst/>
              <a:ahLst/>
              <a:cxnLst>
                <a:cxn ang="0">
                  <a:pos x="48" y="0"/>
                </a:cxn>
                <a:cxn ang="0">
                  <a:pos x="72" y="3"/>
                </a:cxn>
                <a:cxn ang="0">
                  <a:pos x="70" y="21"/>
                </a:cxn>
                <a:cxn ang="0">
                  <a:pos x="49" y="16"/>
                </a:cxn>
                <a:cxn ang="0">
                  <a:pos x="22" y="42"/>
                </a:cxn>
                <a:cxn ang="0">
                  <a:pos x="50" y="68"/>
                </a:cxn>
                <a:cxn ang="0">
                  <a:pos x="71" y="64"/>
                </a:cxn>
                <a:cxn ang="0">
                  <a:pos x="72" y="81"/>
                </a:cxn>
                <a:cxn ang="0">
                  <a:pos x="72" y="81"/>
                </a:cxn>
                <a:cxn ang="0">
                  <a:pos x="48" y="84"/>
                </a:cxn>
                <a:cxn ang="0">
                  <a:pos x="0" y="42"/>
                </a:cxn>
                <a:cxn ang="0">
                  <a:pos x="48" y="0"/>
                </a:cxn>
              </a:cxnLst>
              <a:rect l="0" t="0" r="r" b="b"/>
              <a:pathLst>
                <a:path w="72" h="84">
                  <a:moveTo>
                    <a:pt x="48" y="0"/>
                  </a:moveTo>
                  <a:cubicBezTo>
                    <a:pt x="56" y="0"/>
                    <a:pt x="64" y="2"/>
                    <a:pt x="72" y="3"/>
                  </a:cubicBezTo>
                  <a:cubicBezTo>
                    <a:pt x="70" y="21"/>
                    <a:pt x="70" y="21"/>
                    <a:pt x="70" y="21"/>
                  </a:cubicBezTo>
                  <a:cubicBezTo>
                    <a:pt x="63" y="18"/>
                    <a:pt x="56" y="16"/>
                    <a:pt x="49" y="16"/>
                  </a:cubicBezTo>
                  <a:cubicBezTo>
                    <a:pt x="33" y="16"/>
                    <a:pt x="22" y="27"/>
                    <a:pt x="22" y="42"/>
                  </a:cubicBezTo>
                  <a:cubicBezTo>
                    <a:pt x="22" y="58"/>
                    <a:pt x="34" y="68"/>
                    <a:pt x="50" y="68"/>
                  </a:cubicBezTo>
                  <a:cubicBezTo>
                    <a:pt x="58" y="68"/>
                    <a:pt x="65" y="66"/>
                    <a:pt x="71" y="64"/>
                  </a:cubicBezTo>
                  <a:cubicBezTo>
                    <a:pt x="72" y="81"/>
                    <a:pt x="72" y="81"/>
                    <a:pt x="72" y="81"/>
                  </a:cubicBezTo>
                  <a:cubicBezTo>
                    <a:pt x="72" y="81"/>
                    <a:pt x="72" y="81"/>
                    <a:pt x="72" y="81"/>
                  </a:cubicBezTo>
                  <a:cubicBezTo>
                    <a:pt x="66" y="82"/>
                    <a:pt x="58" y="84"/>
                    <a:pt x="48" y="84"/>
                  </a:cubicBezTo>
                  <a:cubicBezTo>
                    <a:pt x="25" y="84"/>
                    <a:pt x="0" y="73"/>
                    <a:pt x="0" y="42"/>
                  </a:cubicBezTo>
                  <a:cubicBezTo>
                    <a:pt x="0" y="13"/>
                    <a:pt x="21" y="0"/>
                    <a:pt x="48" y="0"/>
                  </a:cubicBezTo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cs-CZ"/>
            </a:p>
          </p:txBody>
        </p:sp>
        <p:sp>
          <p:nvSpPr>
            <p:cNvPr id="669739" name="Freeform 43"/>
            <p:cNvSpPr>
              <a:spLocks/>
            </p:cNvSpPr>
            <p:nvPr/>
          </p:nvSpPr>
          <p:spPr bwMode="auto">
            <a:xfrm>
              <a:off x="4054" y="2194"/>
              <a:ext cx="138" cy="194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37" y="0"/>
                </a:cxn>
                <a:cxn ang="0">
                  <a:pos x="137" y="35"/>
                </a:cxn>
                <a:cxn ang="0">
                  <a:pos x="49" y="35"/>
                </a:cxn>
                <a:cxn ang="0">
                  <a:pos x="49" y="75"/>
                </a:cxn>
                <a:cxn ang="0">
                  <a:pos x="130" y="75"/>
                </a:cxn>
                <a:cxn ang="0">
                  <a:pos x="130" y="113"/>
                </a:cxn>
                <a:cxn ang="0">
                  <a:pos x="49" y="113"/>
                </a:cxn>
                <a:cxn ang="0">
                  <a:pos x="49" y="156"/>
                </a:cxn>
                <a:cxn ang="0">
                  <a:pos x="139" y="156"/>
                </a:cxn>
                <a:cxn ang="0">
                  <a:pos x="139" y="194"/>
                </a:cxn>
                <a:cxn ang="0">
                  <a:pos x="0" y="194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w="139" h="194">
                  <a:moveTo>
                    <a:pt x="0" y="0"/>
                  </a:moveTo>
                  <a:lnTo>
                    <a:pt x="137" y="0"/>
                  </a:lnTo>
                  <a:lnTo>
                    <a:pt x="137" y="35"/>
                  </a:lnTo>
                  <a:lnTo>
                    <a:pt x="49" y="35"/>
                  </a:lnTo>
                  <a:lnTo>
                    <a:pt x="49" y="75"/>
                  </a:lnTo>
                  <a:lnTo>
                    <a:pt x="130" y="75"/>
                  </a:lnTo>
                  <a:lnTo>
                    <a:pt x="130" y="113"/>
                  </a:lnTo>
                  <a:lnTo>
                    <a:pt x="49" y="113"/>
                  </a:lnTo>
                  <a:lnTo>
                    <a:pt x="49" y="156"/>
                  </a:lnTo>
                  <a:lnTo>
                    <a:pt x="139" y="156"/>
                  </a:lnTo>
                  <a:lnTo>
                    <a:pt x="139" y="194"/>
                  </a:lnTo>
                  <a:lnTo>
                    <a:pt x="0" y="194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cs-CZ"/>
            </a:p>
          </p:txBody>
        </p:sp>
        <p:sp>
          <p:nvSpPr>
            <p:cNvPr id="669740" name="Freeform 44"/>
            <p:cNvSpPr>
              <a:spLocks/>
            </p:cNvSpPr>
            <p:nvPr/>
          </p:nvSpPr>
          <p:spPr bwMode="auto">
            <a:xfrm>
              <a:off x="3741" y="2194"/>
              <a:ext cx="273" cy="194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54" y="0"/>
                </a:cxn>
                <a:cxn ang="0">
                  <a:pos x="77" y="149"/>
                </a:cxn>
                <a:cxn ang="0">
                  <a:pos x="80" y="149"/>
                </a:cxn>
                <a:cxn ang="0">
                  <a:pos x="103" y="0"/>
                </a:cxn>
                <a:cxn ang="0">
                  <a:pos x="170" y="0"/>
                </a:cxn>
                <a:cxn ang="0">
                  <a:pos x="198" y="149"/>
                </a:cxn>
                <a:cxn ang="0">
                  <a:pos x="224" y="0"/>
                </a:cxn>
                <a:cxn ang="0">
                  <a:pos x="273" y="0"/>
                </a:cxn>
                <a:cxn ang="0">
                  <a:pos x="231" y="194"/>
                </a:cxn>
                <a:cxn ang="0">
                  <a:pos x="165" y="194"/>
                </a:cxn>
                <a:cxn ang="0">
                  <a:pos x="137" y="42"/>
                </a:cxn>
                <a:cxn ang="0">
                  <a:pos x="111" y="194"/>
                </a:cxn>
                <a:cxn ang="0">
                  <a:pos x="42" y="194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w="273" h="194">
                  <a:moveTo>
                    <a:pt x="0" y="0"/>
                  </a:moveTo>
                  <a:lnTo>
                    <a:pt x="54" y="0"/>
                  </a:lnTo>
                  <a:lnTo>
                    <a:pt x="77" y="149"/>
                  </a:lnTo>
                  <a:lnTo>
                    <a:pt x="80" y="149"/>
                  </a:lnTo>
                  <a:lnTo>
                    <a:pt x="103" y="0"/>
                  </a:lnTo>
                  <a:lnTo>
                    <a:pt x="170" y="0"/>
                  </a:lnTo>
                  <a:lnTo>
                    <a:pt x="198" y="149"/>
                  </a:lnTo>
                  <a:lnTo>
                    <a:pt x="224" y="0"/>
                  </a:lnTo>
                  <a:lnTo>
                    <a:pt x="273" y="0"/>
                  </a:lnTo>
                  <a:lnTo>
                    <a:pt x="231" y="194"/>
                  </a:lnTo>
                  <a:lnTo>
                    <a:pt x="165" y="194"/>
                  </a:lnTo>
                  <a:lnTo>
                    <a:pt x="137" y="42"/>
                  </a:lnTo>
                  <a:lnTo>
                    <a:pt x="111" y="194"/>
                  </a:lnTo>
                  <a:lnTo>
                    <a:pt x="42" y="194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cs-CZ"/>
            </a:p>
          </p:txBody>
        </p:sp>
        <p:sp>
          <p:nvSpPr>
            <p:cNvPr id="669741" name="Freeform 45"/>
            <p:cNvSpPr>
              <a:spLocks/>
            </p:cNvSpPr>
            <p:nvPr/>
          </p:nvSpPr>
          <p:spPr bwMode="auto">
            <a:xfrm>
              <a:off x="3560" y="2192"/>
              <a:ext cx="146" cy="198"/>
            </a:xfrm>
            <a:custGeom>
              <a:avLst/>
              <a:gdLst/>
              <a:ahLst/>
              <a:cxnLst>
                <a:cxn ang="0">
                  <a:pos x="36" y="0"/>
                </a:cxn>
                <a:cxn ang="0">
                  <a:pos x="58" y="2"/>
                </a:cxn>
                <a:cxn ang="0">
                  <a:pos x="56" y="19"/>
                </a:cxn>
                <a:cxn ang="0">
                  <a:pos x="38" y="16"/>
                </a:cxn>
                <a:cxn ang="0">
                  <a:pos x="22" y="23"/>
                </a:cxn>
                <a:cxn ang="0">
                  <a:pos x="62" y="57"/>
                </a:cxn>
                <a:cxn ang="0">
                  <a:pos x="25" y="84"/>
                </a:cxn>
                <a:cxn ang="0">
                  <a:pos x="1" y="81"/>
                </a:cxn>
                <a:cxn ang="0">
                  <a:pos x="3" y="63"/>
                </a:cxn>
                <a:cxn ang="0">
                  <a:pos x="3" y="63"/>
                </a:cxn>
                <a:cxn ang="0">
                  <a:pos x="25" y="68"/>
                </a:cxn>
                <a:cxn ang="0">
                  <a:pos x="39" y="60"/>
                </a:cxn>
                <a:cxn ang="0">
                  <a:pos x="0" y="25"/>
                </a:cxn>
                <a:cxn ang="0">
                  <a:pos x="36" y="0"/>
                </a:cxn>
              </a:cxnLst>
              <a:rect l="0" t="0" r="r" b="b"/>
              <a:pathLst>
                <a:path w="62" h="84">
                  <a:moveTo>
                    <a:pt x="36" y="0"/>
                  </a:moveTo>
                  <a:cubicBezTo>
                    <a:pt x="44" y="0"/>
                    <a:pt x="51" y="1"/>
                    <a:pt x="58" y="2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0" y="17"/>
                    <a:pt x="44" y="16"/>
                    <a:pt x="38" y="16"/>
                  </a:cubicBezTo>
                  <a:cubicBezTo>
                    <a:pt x="32" y="16"/>
                    <a:pt x="22" y="16"/>
                    <a:pt x="22" y="23"/>
                  </a:cubicBezTo>
                  <a:cubicBezTo>
                    <a:pt x="22" y="37"/>
                    <a:pt x="62" y="28"/>
                    <a:pt x="62" y="57"/>
                  </a:cubicBezTo>
                  <a:cubicBezTo>
                    <a:pt x="62" y="79"/>
                    <a:pt x="44" y="84"/>
                    <a:pt x="25" y="84"/>
                  </a:cubicBezTo>
                  <a:cubicBezTo>
                    <a:pt x="18" y="84"/>
                    <a:pt x="8" y="83"/>
                    <a:pt x="1" y="81"/>
                  </a:cubicBezTo>
                  <a:cubicBezTo>
                    <a:pt x="3" y="63"/>
                    <a:pt x="3" y="63"/>
                    <a:pt x="3" y="63"/>
                  </a:cubicBezTo>
                  <a:cubicBezTo>
                    <a:pt x="3" y="63"/>
                    <a:pt x="3" y="63"/>
                    <a:pt x="3" y="63"/>
                  </a:cubicBezTo>
                  <a:cubicBezTo>
                    <a:pt x="9" y="65"/>
                    <a:pt x="16" y="68"/>
                    <a:pt x="25" y="68"/>
                  </a:cubicBezTo>
                  <a:cubicBezTo>
                    <a:pt x="32" y="68"/>
                    <a:pt x="39" y="66"/>
                    <a:pt x="39" y="60"/>
                  </a:cubicBezTo>
                  <a:cubicBezTo>
                    <a:pt x="39" y="45"/>
                    <a:pt x="0" y="55"/>
                    <a:pt x="0" y="25"/>
                  </a:cubicBezTo>
                  <a:cubicBezTo>
                    <a:pt x="0" y="5"/>
                    <a:pt x="20" y="0"/>
                    <a:pt x="36" y="0"/>
                  </a:cubicBezTo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cs-CZ"/>
            </a:p>
          </p:txBody>
        </p:sp>
      </p:grpSp>
      <p:sp>
        <p:nvSpPr>
          <p:cNvPr id="669742" name="Rectangle 46">
            <a:hlinkClick r:id="rId13" action="ppaction://hlinksldjump"/>
          </p:cNvPr>
          <p:cNvSpPr>
            <a:spLocks noChangeArrowheads="1"/>
          </p:cNvSpPr>
          <p:nvPr/>
        </p:nvSpPr>
        <p:spPr bwMode="auto">
          <a:xfrm>
            <a:off x="7416800" y="0"/>
            <a:ext cx="1614488" cy="692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cs-CZ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39" r:id="rId1"/>
    <p:sldLayoutId id="2147483828" r:id="rId2"/>
    <p:sldLayoutId id="2147483829" r:id="rId3"/>
    <p:sldLayoutId id="2147483830" r:id="rId4"/>
    <p:sldLayoutId id="2147483831" r:id="rId5"/>
    <p:sldLayoutId id="2147483832" r:id="rId6"/>
    <p:sldLayoutId id="2147483833" r:id="rId7"/>
    <p:sldLayoutId id="2147483834" r:id="rId8"/>
    <p:sldLayoutId id="2147483835" r:id="rId9"/>
    <p:sldLayoutId id="2147483836" r:id="rId10"/>
    <p:sldLayoutId id="2147483837" r:id="rId11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</a:defRPr>
      </a:lvl9pPr>
    </p:titleStyle>
    <p:bodyStyle>
      <a:lvl1pPr marL="342900" indent="-342900" algn="l" rtl="0" eaLnBrk="0" fontAlgn="base" hangingPunct="0">
        <a:lnSpc>
          <a:spcPct val="110000"/>
        </a:lnSpc>
        <a:spcBef>
          <a:spcPct val="30000"/>
        </a:spcBef>
        <a:spcAft>
          <a:spcPct val="30000"/>
        </a:spcAft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0975" algn="l" rtl="0" eaLnBrk="0" fontAlgn="base" hangingPunct="0">
        <a:lnSpc>
          <a:spcPct val="110000"/>
        </a:lnSpc>
        <a:spcBef>
          <a:spcPct val="20000"/>
        </a:spcBef>
        <a:spcAft>
          <a:spcPct val="20000"/>
        </a:spcAft>
        <a:buChar char="•"/>
        <a:defRPr sz="1600">
          <a:solidFill>
            <a:schemeClr val="tx1"/>
          </a:solidFill>
          <a:latin typeface="+mn-lt"/>
        </a:defRPr>
      </a:lvl2pPr>
      <a:lvl3pPr marL="361950" indent="-177800" algn="l" rtl="0" eaLnBrk="0" fontAlgn="base" hangingPunct="0">
        <a:spcBef>
          <a:spcPct val="20000"/>
        </a:spcBef>
        <a:spcAft>
          <a:spcPct val="0"/>
        </a:spcAft>
        <a:buChar char="•"/>
        <a:defRPr sz="1400">
          <a:solidFill>
            <a:schemeClr val="tx1"/>
          </a:solidFill>
          <a:latin typeface="+mn-lt"/>
        </a:defRPr>
      </a:lvl3pPr>
      <a:lvl4pPr marL="541338" indent="-177800" algn="l" rtl="0" eaLnBrk="0" fontAlgn="base" hangingPunct="0">
        <a:spcBef>
          <a:spcPct val="20000"/>
        </a:spcBef>
        <a:spcAft>
          <a:spcPct val="0"/>
        </a:spcAft>
        <a:buChar char="•"/>
        <a:defRPr sz="1200">
          <a:solidFill>
            <a:schemeClr val="tx1"/>
          </a:solidFill>
          <a:latin typeface="+mn-lt"/>
        </a:defRPr>
      </a:lvl4pPr>
      <a:lvl5pPr marL="720725" indent="-177800" algn="l" rtl="0" eaLnBrk="0" fontAlgn="base" hangingPunct="0">
        <a:spcBef>
          <a:spcPct val="20000"/>
        </a:spcBef>
        <a:spcAft>
          <a:spcPct val="0"/>
        </a:spcAft>
        <a:buChar char="•"/>
        <a:defRPr sz="1200">
          <a:solidFill>
            <a:schemeClr val="tx1"/>
          </a:solidFill>
          <a:latin typeface="+mn-lt"/>
        </a:defRPr>
      </a:lvl5pPr>
      <a:lvl6pPr marL="1177925" indent="-177800" algn="l" rtl="0" fontAlgn="base">
        <a:spcBef>
          <a:spcPct val="20000"/>
        </a:spcBef>
        <a:spcAft>
          <a:spcPct val="0"/>
        </a:spcAft>
        <a:buChar char="•"/>
        <a:defRPr sz="1200">
          <a:solidFill>
            <a:schemeClr val="tx1"/>
          </a:solidFill>
          <a:latin typeface="+mn-lt"/>
        </a:defRPr>
      </a:lvl6pPr>
      <a:lvl7pPr marL="1635125" indent="-177800" algn="l" rtl="0" fontAlgn="base">
        <a:spcBef>
          <a:spcPct val="20000"/>
        </a:spcBef>
        <a:spcAft>
          <a:spcPct val="0"/>
        </a:spcAft>
        <a:buChar char="•"/>
        <a:defRPr sz="1200">
          <a:solidFill>
            <a:schemeClr val="tx1"/>
          </a:solidFill>
          <a:latin typeface="+mn-lt"/>
        </a:defRPr>
      </a:lvl7pPr>
      <a:lvl8pPr marL="2092325" indent="-177800" algn="l" rtl="0" fontAlgn="base">
        <a:spcBef>
          <a:spcPct val="20000"/>
        </a:spcBef>
        <a:spcAft>
          <a:spcPct val="0"/>
        </a:spcAft>
        <a:buChar char="•"/>
        <a:defRPr sz="1200">
          <a:solidFill>
            <a:schemeClr val="tx1"/>
          </a:solidFill>
          <a:latin typeface="+mn-lt"/>
        </a:defRPr>
      </a:lvl8pPr>
      <a:lvl9pPr marL="2549525" indent="-177800" algn="l" rtl="0" fontAlgn="base">
        <a:spcBef>
          <a:spcPct val="20000"/>
        </a:spcBef>
        <a:spcAft>
          <a:spcPct val="0"/>
        </a:spcAft>
        <a:buChar char="•"/>
        <a:defRPr sz="1200">
          <a:solidFill>
            <a:schemeClr val="tx1"/>
          </a:solidFill>
          <a:latin typeface="+mn-lt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5.png"/><Relationship Id="rId5" Type="http://schemas.openxmlformats.org/officeDocument/2006/relationships/image" Target="../media/image4.jpeg"/><Relationship Id="rId4" Type="http://schemas.openxmlformats.org/officeDocument/2006/relationships/image" Target="../media/image3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5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5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5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12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5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5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13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5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hyperlink" Target="https://www.google.cz/url?sa=i&amp;source=images&amp;cd=&amp;cad=rja&amp;uact=8&amp;ved=2ahUKEwjdsfSG66zbAhWoHJoKHR22D44QjRx6BAgBEAU&amp;url=http://www.ceskatelevize.cz/ct24/regiony/2489779-povoden-v-obecnici-znicila-most-pro-vodu-musi-lide-k-cisterne&amp;psig=AOvVaw2_opJ8VOA3QXfVSpkWZj4L&amp;ust=1527749087994652" TargetMode="External"/><Relationship Id="rId7" Type="http://schemas.openxmlformats.org/officeDocument/2006/relationships/image" Target="../media/image8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6.png"/><Relationship Id="rId5" Type="http://schemas.openxmlformats.org/officeDocument/2006/relationships/image" Target="../media/image7.png"/><Relationship Id="rId4" Type="http://schemas.openxmlformats.org/officeDocument/2006/relationships/image" Target="../media/image14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7" Type="http://schemas.openxmlformats.org/officeDocument/2006/relationships/image" Target="../media/image11.jpe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abulka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6176241"/>
              </p:ext>
            </p:extLst>
          </p:nvPr>
        </p:nvGraphicFramePr>
        <p:xfrm>
          <a:off x="1574006" y="4692651"/>
          <a:ext cx="6111479" cy="2165351"/>
        </p:xfrm>
        <a:graphic>
          <a:graphicData uri="http://schemas.openxmlformats.org/drawingml/2006/table">
            <a:tbl>
              <a:tblPr firstRow="1" firstCol="1" bandRow="1">
                <a:tableStyleId>{69012ECD-51FC-41F1-AA8D-1B2483CD663E}</a:tableStyleId>
              </a:tblPr>
              <a:tblGrid>
                <a:gridCol w="305520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05627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616864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cs-CZ" sz="600" dirty="0">
                          <a:effectLst/>
                        </a:rPr>
                        <a:t> </a:t>
                      </a:r>
                      <a:endParaRPr lang="cs-CZ" sz="1000" dirty="0"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53821" marR="0" marT="0" marB="68170" anchor="b">
                    <a:lnL w="6350" cap="flat" cmpd="sng" algn="ctr">
                      <a:noFill/>
                      <a:prstDash val="solid"/>
                      <a:miter lim="800000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cs-CZ" sz="1000" dirty="0"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53821" marR="0" marT="0" marB="6817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55615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cs-CZ" sz="1700" b="1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odohospodářský rozvoj </a:t>
                      </a:r>
                    </a:p>
                    <a:p>
                      <a:pPr marL="0" algn="ctr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cs-CZ" sz="1700" b="1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 výstavba a.s</a:t>
                      </a:r>
                      <a:r>
                        <a:rPr lang="cs-CZ" sz="1300" b="1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.</a:t>
                      </a:r>
                      <a:endParaRPr lang="cs-CZ" sz="1300" b="1" kern="1200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3821" marR="0" marT="34387" marB="0" anchor="b">
                    <a:lnL w="6350" cap="flat" cmpd="sng" algn="ctr">
                      <a:noFill/>
                      <a:prstDash val="solid"/>
                      <a:miter lim="800000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cs-CZ" sz="1700" b="1" dirty="0">
                          <a:solidFill>
                            <a:schemeClr val="bg1"/>
                          </a:solidFill>
                          <a:effectLst/>
                        </a:rPr>
                        <a:t>Sweco </a:t>
                      </a:r>
                      <a:r>
                        <a:rPr lang="cs-CZ" sz="1700" b="1" dirty="0" smtClean="0">
                          <a:solidFill>
                            <a:schemeClr val="bg1"/>
                          </a:solidFill>
                          <a:effectLst/>
                        </a:rPr>
                        <a:t>Hydroprojekt </a:t>
                      </a:r>
                      <a:r>
                        <a:rPr lang="cs-CZ" sz="1700" b="1" dirty="0">
                          <a:solidFill>
                            <a:schemeClr val="bg1"/>
                          </a:solidFill>
                          <a:effectLst/>
                        </a:rPr>
                        <a:t>a.s.</a:t>
                      </a:r>
                      <a:endParaRPr lang="cs-CZ" sz="1700" b="1" dirty="0">
                        <a:solidFill>
                          <a:schemeClr val="bg1"/>
                        </a:solidFill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53821" marR="0" marT="3438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992872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cs-CZ" sz="1100" b="0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ábřežní 4, 150 56 Praha 5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cs-CZ" sz="1100" b="0" dirty="0" smtClean="0">
                          <a:solidFill>
                            <a:schemeClr val="bg1"/>
                          </a:solidFill>
                          <a:effectLst/>
                        </a:rPr>
                        <a:t>www. vrv.cz</a:t>
                      </a:r>
                      <a:endParaRPr lang="cs-CZ" sz="1100" b="0" dirty="0">
                        <a:solidFill>
                          <a:schemeClr val="bg1"/>
                        </a:solidFill>
                        <a:effectLst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cs-CZ" sz="600" dirty="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cs-CZ" sz="1000" dirty="0">
                        <a:solidFill>
                          <a:schemeClr val="bg1"/>
                        </a:solidFill>
                        <a:effectLst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cs-CZ" sz="6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endParaRPr lang="cs-CZ" sz="1000" dirty="0">
                        <a:solidFill>
                          <a:schemeClr val="bg1"/>
                        </a:solidFill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53821" marR="0" marT="0" marB="0" anchor="ctr">
                    <a:lnL w="6350" cap="flat" cmpd="sng" algn="ctr">
                      <a:noFill/>
                      <a:prstDash val="solid"/>
                      <a:miter lim="800000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cs-CZ" sz="1100" dirty="0">
                          <a:solidFill>
                            <a:schemeClr val="bg1"/>
                          </a:solidFill>
                          <a:effectLst/>
                        </a:rPr>
                        <a:t>Ústředí Praha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cs-CZ" sz="1100" dirty="0">
                          <a:solidFill>
                            <a:schemeClr val="bg1"/>
                          </a:solidFill>
                          <a:effectLst/>
                        </a:rPr>
                        <a:t>Táborská 31, Praha 4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cs-CZ" sz="1100" dirty="0">
                          <a:solidFill>
                            <a:schemeClr val="bg1"/>
                          </a:solidFill>
                          <a:effectLst/>
                        </a:rPr>
                        <a:t>www.sweco.cz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cs-CZ" sz="1100" dirty="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cs-CZ" sz="6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endParaRPr lang="cs-CZ" sz="1000" dirty="0">
                        <a:solidFill>
                          <a:schemeClr val="bg1"/>
                        </a:solidFill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53821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4" name="Rubrik 3"/>
          <p:cNvSpPr>
            <a:spLocks noGrp="1"/>
          </p:cNvSpPr>
          <p:nvPr>
            <p:ph type="ctrTitle"/>
          </p:nvPr>
        </p:nvSpPr>
        <p:spPr/>
        <p:txBody>
          <a:bodyPr rtlCol="0">
            <a:normAutofit fontScale="90000"/>
          </a:bodyPr>
          <a:lstStyle/>
          <a:p>
            <a:pPr algn="ctr" fontAlgn="auto">
              <a:spcAft>
                <a:spcPts val="0"/>
              </a:spcAft>
              <a:defRPr/>
            </a:pPr>
            <a:r>
              <a:rPr lang="en-US" dirty="0"/>
              <a:t/>
            </a:r>
            <a:br>
              <a:rPr lang="en-US" dirty="0"/>
            </a:br>
            <a:r>
              <a:rPr lang="cs-CZ" sz="2800" dirty="0"/>
              <a:t/>
            </a:r>
            <a:br>
              <a:rPr lang="cs-CZ" sz="2800" dirty="0"/>
            </a:br>
            <a:r>
              <a:rPr lang="cs-CZ" sz="2800" dirty="0" smtClean="0"/>
              <a:t/>
            </a:r>
            <a:br>
              <a:rPr lang="cs-CZ" sz="2800" dirty="0" smtClean="0"/>
            </a:br>
            <a:r>
              <a:rPr lang="cs-CZ" sz="2800" dirty="0" smtClean="0"/>
              <a:t/>
            </a:r>
            <a:br>
              <a:rPr lang="cs-CZ" sz="2800" dirty="0" smtClean="0"/>
            </a:br>
            <a:r>
              <a:rPr lang="cs-CZ" sz="2800" dirty="0"/>
              <a:t/>
            </a:r>
            <a:br>
              <a:rPr lang="cs-CZ" sz="2800" dirty="0"/>
            </a:br>
            <a:r>
              <a:rPr lang="cs-CZ" sz="2800" dirty="0" smtClean="0"/>
              <a:t/>
            </a:r>
            <a:br>
              <a:rPr lang="cs-CZ" sz="2800" dirty="0" smtClean="0"/>
            </a:br>
            <a:endParaRPr lang="sv-SE" sz="2800" dirty="0"/>
          </a:p>
        </p:txBody>
      </p:sp>
      <p:sp>
        <p:nvSpPr>
          <p:cNvPr id="17418" name="Platshållare för bildnummer 2"/>
          <p:cNvSpPr>
            <a:spLocks noGrp="1"/>
          </p:cNvSpPr>
          <p:nvPr>
            <p:ph type="sldNum" sz="quarter" idx="12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Sweco Sans" charset="-18"/>
              </a:defRPr>
            </a:lvl1pPr>
            <a:lvl2pPr marL="742950" indent="-285750">
              <a:defRPr>
                <a:solidFill>
                  <a:schemeClr val="tx1"/>
                </a:solidFill>
                <a:latin typeface="Sweco Sans" charset="-18"/>
              </a:defRPr>
            </a:lvl2pPr>
            <a:lvl3pPr marL="1143000" indent="-228600">
              <a:defRPr>
                <a:solidFill>
                  <a:schemeClr val="tx1"/>
                </a:solidFill>
                <a:latin typeface="Sweco Sans" charset="-18"/>
              </a:defRPr>
            </a:lvl3pPr>
            <a:lvl4pPr marL="1600200" indent="-228600">
              <a:defRPr>
                <a:solidFill>
                  <a:schemeClr val="tx1"/>
                </a:solidFill>
                <a:latin typeface="Sweco Sans" charset="-18"/>
              </a:defRPr>
            </a:lvl4pPr>
            <a:lvl5pPr marL="2057400" indent="-228600">
              <a:defRPr>
                <a:solidFill>
                  <a:schemeClr val="tx1"/>
                </a:solidFill>
                <a:latin typeface="Sweco Sans" charset="-18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weco Sans" charset="-18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weco Sans" charset="-18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weco Sans" charset="-18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weco Sans" charset="-18"/>
              </a:defRPr>
            </a:lvl9pPr>
          </a:lstStyle>
          <a:p>
            <a:fld id="{1FA35273-ECC5-45B7-8E32-DF71110FA1BD}" type="slidenum">
              <a:rPr lang="en-GB" altLang="cs-CZ"/>
              <a:pPr/>
              <a:t>1</a:t>
            </a:fld>
            <a:endParaRPr lang="en-GB" altLang="cs-CZ"/>
          </a:p>
        </p:txBody>
      </p:sp>
      <p:sp>
        <p:nvSpPr>
          <p:cNvPr id="17420" name="TextovéPole 21"/>
          <p:cNvSpPr txBox="1">
            <a:spLocks noChangeArrowheads="1"/>
          </p:cNvSpPr>
          <p:nvPr/>
        </p:nvSpPr>
        <p:spPr bwMode="auto">
          <a:xfrm>
            <a:off x="1672800" y="3478886"/>
            <a:ext cx="5735241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Sweco Sans" charset="-18"/>
              </a:defRPr>
            </a:lvl1pPr>
            <a:lvl2pPr marL="742950" indent="-285750">
              <a:defRPr>
                <a:solidFill>
                  <a:schemeClr val="tx1"/>
                </a:solidFill>
                <a:latin typeface="Sweco Sans" charset="-18"/>
              </a:defRPr>
            </a:lvl2pPr>
            <a:lvl3pPr marL="1143000" indent="-228600">
              <a:defRPr>
                <a:solidFill>
                  <a:schemeClr val="tx1"/>
                </a:solidFill>
                <a:latin typeface="Sweco Sans" charset="-18"/>
              </a:defRPr>
            </a:lvl3pPr>
            <a:lvl4pPr marL="1600200" indent="-228600">
              <a:defRPr>
                <a:solidFill>
                  <a:schemeClr val="tx1"/>
                </a:solidFill>
                <a:latin typeface="Sweco Sans" charset="-18"/>
              </a:defRPr>
            </a:lvl4pPr>
            <a:lvl5pPr marL="2057400" indent="-228600">
              <a:defRPr>
                <a:solidFill>
                  <a:schemeClr val="tx1"/>
                </a:solidFill>
                <a:latin typeface="Sweco Sans" charset="-18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weco Sans" charset="-18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weco Sans" charset="-18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weco Sans" charset="-18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weco Sans" charset="-18"/>
              </a:defRPr>
            </a:lvl9pPr>
          </a:lstStyle>
          <a:p>
            <a:pPr algn="ctr" eaLnBrk="1" hangingPunct="1"/>
            <a:r>
              <a:rPr lang="cs-CZ" altLang="cs-CZ" sz="2600" i="1" dirty="0" smtClean="0">
                <a:solidFill>
                  <a:schemeClr val="bg1"/>
                </a:solidFill>
              </a:rPr>
              <a:t>Praha 10.1.2020</a:t>
            </a:r>
            <a:endParaRPr lang="cs-CZ" altLang="cs-CZ" sz="2600" i="1" dirty="0">
              <a:solidFill>
                <a:schemeClr val="bg1"/>
              </a:solidFill>
            </a:endParaRPr>
          </a:p>
        </p:txBody>
      </p:sp>
      <p:sp>
        <p:nvSpPr>
          <p:cNvPr id="17421" name="TextovéPole 22"/>
          <p:cNvSpPr txBox="1">
            <a:spLocks noChangeArrowheads="1"/>
          </p:cNvSpPr>
          <p:nvPr/>
        </p:nvSpPr>
        <p:spPr bwMode="auto">
          <a:xfrm>
            <a:off x="0" y="4086226"/>
            <a:ext cx="9144000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Sweco Sans" charset="-18"/>
              </a:defRPr>
            </a:lvl1pPr>
            <a:lvl2pPr marL="742950" indent="-285750">
              <a:defRPr>
                <a:solidFill>
                  <a:schemeClr val="tx1"/>
                </a:solidFill>
                <a:latin typeface="Sweco Sans" charset="-18"/>
              </a:defRPr>
            </a:lvl2pPr>
            <a:lvl3pPr marL="1143000" indent="-228600">
              <a:defRPr>
                <a:solidFill>
                  <a:schemeClr val="tx1"/>
                </a:solidFill>
                <a:latin typeface="Sweco Sans" charset="-18"/>
              </a:defRPr>
            </a:lvl3pPr>
            <a:lvl4pPr marL="1600200" indent="-228600">
              <a:defRPr>
                <a:solidFill>
                  <a:schemeClr val="tx1"/>
                </a:solidFill>
                <a:latin typeface="Sweco Sans" charset="-18"/>
              </a:defRPr>
            </a:lvl4pPr>
            <a:lvl5pPr marL="2057400" indent="-228600">
              <a:defRPr>
                <a:solidFill>
                  <a:schemeClr val="tx1"/>
                </a:solidFill>
                <a:latin typeface="Sweco Sans" charset="-18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weco Sans" charset="-18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weco Sans" charset="-18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weco Sans" charset="-18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weco Sans" charset="-18"/>
              </a:defRPr>
            </a:lvl9pPr>
          </a:lstStyle>
          <a:p>
            <a:pPr algn="ctr" eaLnBrk="1" hangingPunct="1"/>
            <a:r>
              <a:rPr lang="cs-CZ" altLang="cs-CZ" sz="2600" b="1" dirty="0" smtClean="0">
                <a:solidFill>
                  <a:schemeClr val="bg1"/>
                </a:solidFill>
                <a:latin typeface="+mj-lt"/>
              </a:rPr>
              <a:t>Společnost „SHDP </a:t>
            </a:r>
            <a:r>
              <a:rPr lang="cs-CZ" altLang="cs-CZ" sz="2600" b="1" dirty="0">
                <a:solidFill>
                  <a:schemeClr val="bg1"/>
                </a:solidFill>
                <a:latin typeface="+mj-lt"/>
              </a:rPr>
              <a:t>+ </a:t>
            </a:r>
            <a:r>
              <a:rPr lang="cs-CZ" altLang="cs-CZ" sz="2600" b="1" dirty="0" smtClean="0">
                <a:solidFill>
                  <a:schemeClr val="bg1"/>
                </a:solidFill>
                <a:latin typeface="+mj-lt"/>
              </a:rPr>
              <a:t>VRV“</a:t>
            </a:r>
            <a:r>
              <a:rPr lang="cs-CZ" altLang="cs-CZ" sz="2600" b="1" dirty="0" smtClean="0">
                <a:latin typeface="+mj-lt"/>
              </a:rPr>
              <a:t>V</a:t>
            </a:r>
            <a:endParaRPr lang="cs-CZ" altLang="cs-CZ" sz="2600" dirty="0">
              <a:latin typeface="+mj-lt"/>
            </a:endParaRPr>
          </a:p>
        </p:txBody>
      </p:sp>
      <p:grpSp>
        <p:nvGrpSpPr>
          <p:cNvPr id="17423" name="Skupina 6"/>
          <p:cNvGrpSpPr>
            <a:grpSpLocks/>
          </p:cNvGrpSpPr>
          <p:nvPr/>
        </p:nvGrpSpPr>
        <p:grpSpPr bwMode="auto">
          <a:xfrm>
            <a:off x="5572126" y="4818063"/>
            <a:ext cx="1376138" cy="431800"/>
            <a:chOff x="6881843" y="4801551"/>
            <a:chExt cx="1514950" cy="432000"/>
          </a:xfrm>
        </p:grpSpPr>
        <p:sp>
          <p:nvSpPr>
            <p:cNvPr id="24" name="Obdélník 23"/>
            <p:cNvSpPr/>
            <p:nvPr/>
          </p:nvSpPr>
          <p:spPr>
            <a:xfrm>
              <a:off x="6881843" y="4801551"/>
              <a:ext cx="1514950" cy="432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cs-CZ" dirty="0"/>
            </a:p>
          </p:txBody>
        </p:sp>
        <p:pic>
          <p:nvPicPr>
            <p:cNvPr id="17426" name="Obrázek 26"/>
            <p:cNvPicPr>
              <a:picLocks noChangeAspect="1"/>
            </p:cNvPicPr>
            <p:nvPr/>
          </p:nvPicPr>
          <p:blipFill>
            <a:blip r:embed="rId3" cstate="screen">
              <a:clrChange>
                <a:clrFrom>
                  <a:srgbClr val="000000">
                    <a:alpha val="0"/>
                  </a:srgbClr>
                </a:clrFrom>
                <a:clrTo>
                  <a:srgbClr val="000000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018103" y="4837552"/>
              <a:ext cx="1242430" cy="35999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pic>
        <p:nvPicPr>
          <p:cNvPr id="17424" name="Obrázek 5"/>
          <p:cNvPicPr>
            <a:picLocks noChangeAspect="1"/>
          </p:cNvPicPr>
          <p:nvPr/>
        </p:nvPicPr>
        <p:blipFill>
          <a:blip r:embed="rId4">
            <a:clrChange>
              <a:clrFrom>
                <a:srgbClr val="000000">
                  <a:alpha val="0"/>
                </a:srgbClr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744390" y="4818063"/>
            <a:ext cx="603473" cy="469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ubrik 3"/>
          <p:cNvSpPr txBox="1">
            <a:spLocks/>
          </p:cNvSpPr>
          <p:nvPr/>
        </p:nvSpPr>
        <p:spPr>
          <a:xfrm>
            <a:off x="0" y="908720"/>
            <a:ext cx="9099947" cy="2634041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100" kern="1200" cap="all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fontAlgn="auto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defRPr/>
            </a:pPr>
            <a:endParaRPr lang="cs-CZ" sz="3000" dirty="0" smtClean="0"/>
          </a:p>
          <a:p>
            <a:pPr algn="ctr">
              <a:spcAft>
                <a:spcPts val="600"/>
              </a:spcAft>
            </a:pPr>
            <a:r>
              <a:rPr lang="cs-CZ" sz="2800" b="1" dirty="0" smtClean="0">
                <a:solidFill>
                  <a:schemeClr val="bg1"/>
                </a:solidFill>
              </a:rPr>
              <a:t>Studie </a:t>
            </a:r>
            <a:r>
              <a:rPr lang="cs-CZ" sz="2800" b="1" dirty="0">
                <a:solidFill>
                  <a:schemeClr val="bg1"/>
                </a:solidFill>
              </a:rPr>
              <a:t>odtokových poměrů </a:t>
            </a:r>
            <a:endParaRPr lang="cs-CZ" sz="2800" b="1" dirty="0" smtClean="0">
              <a:solidFill>
                <a:schemeClr val="bg1"/>
              </a:solidFill>
            </a:endParaRPr>
          </a:p>
          <a:p>
            <a:pPr algn="ctr">
              <a:spcAft>
                <a:spcPts val="600"/>
              </a:spcAft>
            </a:pPr>
            <a:r>
              <a:rPr lang="cs-CZ" sz="2800" b="1" dirty="0">
                <a:solidFill>
                  <a:schemeClr val="bg1"/>
                </a:solidFill>
              </a:rPr>
              <a:t>včetně návrhů možných </a:t>
            </a:r>
          </a:p>
          <a:p>
            <a:pPr algn="ctr">
              <a:spcAft>
                <a:spcPts val="600"/>
              </a:spcAft>
            </a:pPr>
            <a:r>
              <a:rPr lang="cs-CZ" sz="2800" b="1" dirty="0">
                <a:solidFill>
                  <a:schemeClr val="bg1"/>
                </a:solidFill>
              </a:rPr>
              <a:t>protipovodňových </a:t>
            </a:r>
            <a:r>
              <a:rPr lang="cs-CZ" sz="2800" b="1" dirty="0" smtClean="0">
                <a:solidFill>
                  <a:schemeClr val="bg1"/>
                </a:solidFill>
              </a:rPr>
              <a:t>opatření</a:t>
            </a:r>
          </a:p>
          <a:p>
            <a:pPr algn="ctr">
              <a:spcAft>
                <a:spcPts val="600"/>
              </a:spcAft>
            </a:pPr>
            <a:r>
              <a:rPr lang="cs-CZ" sz="2800" b="1" dirty="0" smtClean="0">
                <a:solidFill>
                  <a:schemeClr val="bg1"/>
                </a:solidFill>
              </a:rPr>
              <a:t>v povodí vodního toku Berounky</a:t>
            </a:r>
            <a:endParaRPr lang="sv-SE" sz="2800" b="1" dirty="0">
              <a:solidFill>
                <a:schemeClr val="bg1"/>
              </a:solidFill>
            </a:endParaRPr>
          </a:p>
        </p:txBody>
      </p:sp>
      <p:pic>
        <p:nvPicPr>
          <p:cNvPr id="10242" name="Picture 2" descr="Z:\PROJEKTY\2018_SOP_v_povodi_Berounky\02_Podklady\01_loga\Logo OPŽP\Banner OPZP_Fond soudrznosti\JPG\CZ_RO_B_C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242" y="82303"/>
            <a:ext cx="3844677" cy="12016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Obrázek 15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20072" y="240857"/>
            <a:ext cx="3822690" cy="7476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81788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délník 3"/>
          <p:cNvSpPr/>
          <p:nvPr/>
        </p:nvSpPr>
        <p:spPr>
          <a:xfrm>
            <a:off x="7456700" y="129394"/>
            <a:ext cx="1435780" cy="5238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cs-CZ" dirty="0"/>
          </a:p>
        </p:txBody>
      </p:sp>
      <p:sp>
        <p:nvSpPr>
          <p:cNvPr id="3" name="Zástupný symbol pro číslo snímku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34A8917-ACC8-47BE-963A-793028AE5469}" type="slidenum">
              <a:rPr lang="sv-SE"/>
              <a:pPr>
                <a:defRPr/>
              </a:pPr>
              <a:t>10</a:t>
            </a:fld>
            <a:endParaRPr lang="sv-SE" dirty="0"/>
          </a:p>
        </p:txBody>
      </p:sp>
      <p:grpSp>
        <p:nvGrpSpPr>
          <p:cNvPr id="10" name="Skupina 9"/>
          <p:cNvGrpSpPr/>
          <p:nvPr/>
        </p:nvGrpSpPr>
        <p:grpSpPr>
          <a:xfrm>
            <a:off x="7380312" y="131764"/>
            <a:ext cx="1625590" cy="488924"/>
            <a:chOff x="7380312" y="131764"/>
            <a:chExt cx="1625590" cy="488924"/>
          </a:xfrm>
        </p:grpSpPr>
        <p:sp>
          <p:nvSpPr>
            <p:cNvPr id="11" name="Obdélník 10"/>
            <p:cNvSpPr/>
            <p:nvPr/>
          </p:nvSpPr>
          <p:spPr>
            <a:xfrm>
              <a:off x="7380312" y="131764"/>
              <a:ext cx="1505992" cy="48892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cs-CZ" dirty="0"/>
            </a:p>
          </p:txBody>
        </p:sp>
        <p:pic>
          <p:nvPicPr>
            <p:cNvPr id="12" name="Obrázek 9"/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464284" y="248938"/>
              <a:ext cx="876550" cy="2826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3" name="Obrázek 8"/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460432" y="248938"/>
              <a:ext cx="545470" cy="3717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4" name="Rubrik 4"/>
          <p:cNvSpPr txBox="1">
            <a:spLocks/>
          </p:cNvSpPr>
          <p:nvPr/>
        </p:nvSpPr>
        <p:spPr bwMode="auto">
          <a:xfrm>
            <a:off x="338436" y="434813"/>
            <a:ext cx="7041876" cy="676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rmAutofit fontScale="90000" lnSpcReduction="20000"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fontAlgn="auto">
              <a:spcAft>
                <a:spcPts val="0"/>
              </a:spcAft>
              <a:defRPr/>
            </a:pPr>
            <a:r>
              <a:rPr lang="cs-CZ" kern="0" dirty="0" smtClean="0"/>
              <a:t>Etapa </a:t>
            </a:r>
            <a:r>
              <a:rPr lang="cs-CZ" kern="0" dirty="0"/>
              <a:t>C </a:t>
            </a:r>
            <a:r>
              <a:rPr lang="cs-CZ" kern="0" dirty="0" smtClean="0"/>
              <a:t>– Majetkoprávní vypořádání:</a:t>
            </a:r>
            <a:br>
              <a:rPr lang="cs-CZ" kern="0" dirty="0" smtClean="0"/>
            </a:br>
            <a:endParaRPr lang="en-GB" kern="0" dirty="0"/>
          </a:p>
        </p:txBody>
      </p:sp>
      <p:sp>
        <p:nvSpPr>
          <p:cNvPr id="2" name="Obdélník 1"/>
          <p:cNvSpPr/>
          <p:nvPr/>
        </p:nvSpPr>
        <p:spPr>
          <a:xfrm>
            <a:off x="267135" y="770443"/>
            <a:ext cx="8539161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lvl="0" indent="-285750">
              <a:lnSpc>
                <a:spcPct val="15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cs-CZ" b="1" u="sng" dirty="0" smtClean="0">
                <a:solidFill>
                  <a:srgbClr val="000000"/>
                </a:solidFill>
              </a:rPr>
              <a:t>Státní pozemkový úřad:</a:t>
            </a:r>
          </a:p>
          <a:p>
            <a:pPr marL="742950" lvl="1" indent="-285750">
              <a:lnSpc>
                <a:spcPct val="15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cs-CZ" sz="1600" b="1" dirty="0" smtClean="0">
                <a:solidFill>
                  <a:srgbClr val="000000"/>
                </a:solidFill>
              </a:rPr>
              <a:t>Obecné vyjádření k melioračním stavbám</a:t>
            </a:r>
          </a:p>
          <a:p>
            <a:pPr marL="742950" lvl="1" indent="-285750">
              <a:lnSpc>
                <a:spcPct val="15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cs-CZ" sz="1600" b="1" dirty="0" smtClean="0">
                <a:solidFill>
                  <a:srgbClr val="000000"/>
                </a:solidFill>
              </a:rPr>
              <a:t>Vyjádření vlastníka pozemku</a:t>
            </a:r>
          </a:p>
        </p:txBody>
      </p:sp>
    </p:spTree>
    <p:extLst>
      <p:ext uri="{BB962C8B-B14F-4D97-AF65-F5344CB8AC3E}">
        <p14:creationId xmlns:p14="http://schemas.microsoft.com/office/powerpoint/2010/main" val="21589319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délník 3"/>
          <p:cNvSpPr/>
          <p:nvPr/>
        </p:nvSpPr>
        <p:spPr>
          <a:xfrm>
            <a:off x="7456700" y="129394"/>
            <a:ext cx="1435780" cy="5238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cs-CZ" dirty="0"/>
          </a:p>
        </p:txBody>
      </p:sp>
      <p:sp>
        <p:nvSpPr>
          <p:cNvPr id="3" name="Zástupný symbol pro číslo snímku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34A8917-ACC8-47BE-963A-793028AE5469}" type="slidenum">
              <a:rPr lang="sv-SE"/>
              <a:pPr>
                <a:defRPr/>
              </a:pPr>
              <a:t>11</a:t>
            </a:fld>
            <a:endParaRPr lang="sv-SE" dirty="0"/>
          </a:p>
        </p:txBody>
      </p:sp>
      <p:grpSp>
        <p:nvGrpSpPr>
          <p:cNvPr id="10" name="Skupina 9"/>
          <p:cNvGrpSpPr/>
          <p:nvPr/>
        </p:nvGrpSpPr>
        <p:grpSpPr>
          <a:xfrm>
            <a:off x="7380312" y="131764"/>
            <a:ext cx="1625590" cy="488924"/>
            <a:chOff x="7380312" y="131764"/>
            <a:chExt cx="1625590" cy="488924"/>
          </a:xfrm>
        </p:grpSpPr>
        <p:sp>
          <p:nvSpPr>
            <p:cNvPr id="11" name="Obdélník 10"/>
            <p:cNvSpPr/>
            <p:nvPr/>
          </p:nvSpPr>
          <p:spPr>
            <a:xfrm>
              <a:off x="7380312" y="131764"/>
              <a:ext cx="1505992" cy="48892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cs-CZ" dirty="0"/>
            </a:p>
          </p:txBody>
        </p:sp>
        <p:pic>
          <p:nvPicPr>
            <p:cNvPr id="12" name="Obrázek 9"/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464284" y="248938"/>
              <a:ext cx="876550" cy="2826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3" name="Obrázek 8"/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460432" y="248938"/>
              <a:ext cx="545470" cy="3717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4" name="Rubrik 4"/>
          <p:cNvSpPr txBox="1">
            <a:spLocks/>
          </p:cNvSpPr>
          <p:nvPr/>
        </p:nvSpPr>
        <p:spPr bwMode="auto">
          <a:xfrm>
            <a:off x="338436" y="434813"/>
            <a:ext cx="7041876" cy="676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rmAutofit fontScale="90000" lnSpcReduction="20000"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fontAlgn="auto">
              <a:spcAft>
                <a:spcPts val="0"/>
              </a:spcAft>
              <a:defRPr/>
            </a:pPr>
            <a:r>
              <a:rPr lang="cs-CZ" kern="0" dirty="0" smtClean="0"/>
              <a:t>Etapa </a:t>
            </a:r>
            <a:r>
              <a:rPr lang="cs-CZ" kern="0" dirty="0"/>
              <a:t>C </a:t>
            </a:r>
            <a:r>
              <a:rPr lang="cs-CZ" kern="0" dirty="0" smtClean="0"/>
              <a:t>– Majetkoprávní vypořádání:</a:t>
            </a:r>
            <a:br>
              <a:rPr lang="cs-CZ" kern="0" dirty="0" smtClean="0"/>
            </a:br>
            <a:endParaRPr lang="en-GB" kern="0" dirty="0"/>
          </a:p>
        </p:txBody>
      </p:sp>
      <p:sp>
        <p:nvSpPr>
          <p:cNvPr id="2" name="Obdélník 1"/>
          <p:cNvSpPr/>
          <p:nvPr/>
        </p:nvSpPr>
        <p:spPr>
          <a:xfrm>
            <a:off x="267135" y="770443"/>
            <a:ext cx="8539161" cy="45653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lvl="0" indent="-285750">
              <a:lnSpc>
                <a:spcPct val="15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cs-CZ" b="1" dirty="0">
                <a:solidFill>
                  <a:srgbClr val="000000"/>
                </a:solidFill>
              </a:rPr>
              <a:t>Obce s rozšířenou působností (</a:t>
            </a:r>
            <a:r>
              <a:rPr lang="cs-CZ" b="1" dirty="0" smtClean="0">
                <a:solidFill>
                  <a:srgbClr val="000000"/>
                </a:solidFill>
              </a:rPr>
              <a:t>ORP): </a:t>
            </a:r>
            <a:r>
              <a:rPr lang="cs-CZ" dirty="0" smtClean="0">
                <a:solidFill>
                  <a:srgbClr val="000000"/>
                </a:solidFill>
              </a:rPr>
              <a:t>zatím 9/16 se vyjádřilo</a:t>
            </a:r>
            <a:endParaRPr lang="cs-CZ" u="sng" dirty="0" smtClean="0">
              <a:solidFill>
                <a:srgbClr val="000000"/>
              </a:solidFill>
            </a:endParaRPr>
          </a:p>
        </p:txBody>
      </p:sp>
      <p:graphicFrame>
        <p:nvGraphicFramePr>
          <p:cNvPr id="5" name="Tabulka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87383028"/>
              </p:ext>
            </p:extLst>
          </p:nvPr>
        </p:nvGraphicFramePr>
        <p:xfrm>
          <a:off x="338437" y="1226984"/>
          <a:ext cx="8547868" cy="477057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713874">
                  <a:extLst>
                    <a:ext uri="{9D8B030D-6E8A-4147-A177-3AD203B41FA5}">
                      <a16:colId xmlns:a16="http://schemas.microsoft.com/office/drawing/2014/main" val="1669599713"/>
                    </a:ext>
                  </a:extLst>
                </a:gridCol>
                <a:gridCol w="4238336">
                  <a:extLst>
                    <a:ext uri="{9D8B030D-6E8A-4147-A177-3AD203B41FA5}">
                      <a16:colId xmlns:a16="http://schemas.microsoft.com/office/drawing/2014/main" val="1249368418"/>
                    </a:ext>
                  </a:extLst>
                </a:gridCol>
                <a:gridCol w="1595658">
                  <a:extLst>
                    <a:ext uri="{9D8B030D-6E8A-4147-A177-3AD203B41FA5}">
                      <a16:colId xmlns:a16="http://schemas.microsoft.com/office/drawing/2014/main" val="1977476687"/>
                    </a:ext>
                  </a:extLst>
                </a:gridCol>
              </a:tblGrid>
              <a:tr h="29805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1" u="none" strike="noStrike" dirty="0">
                          <a:effectLst/>
                        </a:rPr>
                        <a:t>Městský úřad Černošice</a:t>
                      </a:r>
                      <a:endParaRPr lang="cs-CZ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1" u="none" strike="noStrike">
                          <a:effectLst/>
                        </a:rPr>
                        <a:t>Odbor životního prostředí</a:t>
                      </a:r>
                      <a:endParaRPr lang="cs-CZ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u="none" strike="noStrike" dirty="0" smtClean="0">
                          <a:effectLst/>
                        </a:rPr>
                        <a:t>ANO</a:t>
                      </a:r>
                      <a:endParaRPr lang="cs-CZ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57538705"/>
                  </a:ext>
                </a:extLst>
              </a:tr>
              <a:tr h="29805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1" u="none" strike="noStrike" dirty="0">
                          <a:effectLst/>
                        </a:rPr>
                        <a:t>Městský úřad Černošice</a:t>
                      </a:r>
                      <a:endParaRPr lang="cs-CZ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1" u="none" strike="noStrike" dirty="0">
                          <a:effectLst/>
                        </a:rPr>
                        <a:t>Odbor územního plánování</a:t>
                      </a:r>
                      <a:endParaRPr lang="cs-CZ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u="none" strike="noStrike" dirty="0">
                          <a:effectLst/>
                        </a:rPr>
                        <a:t>NE</a:t>
                      </a:r>
                      <a:endParaRPr lang="cs-CZ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771327174"/>
                  </a:ext>
                </a:extLst>
              </a:tr>
              <a:tr h="29805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1" u="none" strike="noStrike">
                          <a:effectLst/>
                        </a:rPr>
                        <a:t>Městský úřad Kladno</a:t>
                      </a:r>
                      <a:endParaRPr lang="cs-CZ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1" u="none" strike="noStrike" dirty="0">
                          <a:effectLst/>
                        </a:rPr>
                        <a:t>Odbor životního prostředí</a:t>
                      </a:r>
                      <a:endParaRPr lang="cs-CZ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u="none" strike="noStrike">
                          <a:effectLst/>
                        </a:rPr>
                        <a:t>NE</a:t>
                      </a:r>
                      <a:endParaRPr lang="cs-CZ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055509283"/>
                  </a:ext>
                </a:extLst>
              </a:tr>
              <a:tr h="29973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1" u="none" strike="noStrike">
                          <a:effectLst/>
                        </a:rPr>
                        <a:t>Městský úřad Kladno</a:t>
                      </a:r>
                      <a:endParaRPr lang="cs-CZ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1" u="none" strike="noStrike" dirty="0">
                          <a:effectLst/>
                        </a:rPr>
                        <a:t>Oddělení arch., územního plánování a rozvoje města</a:t>
                      </a:r>
                      <a:endParaRPr lang="cs-CZ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u="none" strike="noStrike">
                          <a:effectLst/>
                        </a:rPr>
                        <a:t>NE</a:t>
                      </a:r>
                      <a:endParaRPr lang="cs-CZ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466904774"/>
                  </a:ext>
                </a:extLst>
              </a:tr>
              <a:tr h="29805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1" u="none" strike="noStrike">
                          <a:effectLst/>
                        </a:rPr>
                        <a:t>Městský úřad Rakovník</a:t>
                      </a:r>
                      <a:endParaRPr lang="cs-CZ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1" u="none" strike="noStrike" dirty="0">
                          <a:effectLst/>
                        </a:rPr>
                        <a:t>Odbor životního prostředí</a:t>
                      </a:r>
                      <a:endParaRPr lang="cs-CZ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u="none" strike="noStrike">
                          <a:effectLst/>
                        </a:rPr>
                        <a:t>ANO</a:t>
                      </a:r>
                      <a:endParaRPr lang="cs-CZ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88351132"/>
                  </a:ext>
                </a:extLst>
              </a:tr>
              <a:tr h="29805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1" u="none" strike="noStrike">
                          <a:effectLst/>
                        </a:rPr>
                        <a:t>Městský úřad Rakovník</a:t>
                      </a:r>
                      <a:endParaRPr lang="cs-CZ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1" u="none" strike="noStrike" dirty="0">
                          <a:effectLst/>
                        </a:rPr>
                        <a:t>Oddělení </a:t>
                      </a:r>
                      <a:r>
                        <a:rPr lang="cs-CZ" sz="1100" b="1" u="none" strike="noStrike" dirty="0" err="1">
                          <a:effectLst/>
                        </a:rPr>
                        <a:t>úz</a:t>
                      </a:r>
                      <a:r>
                        <a:rPr lang="cs-CZ" sz="1100" b="1" u="none" strike="noStrike" dirty="0">
                          <a:effectLst/>
                        </a:rPr>
                        <a:t>. plánování a </a:t>
                      </a:r>
                      <a:r>
                        <a:rPr lang="cs-CZ" sz="1100" b="1" u="none" strike="noStrike" dirty="0" err="1">
                          <a:effectLst/>
                        </a:rPr>
                        <a:t>reg</a:t>
                      </a:r>
                      <a:r>
                        <a:rPr lang="cs-CZ" sz="1100" b="1" u="none" strike="noStrike" dirty="0">
                          <a:effectLst/>
                        </a:rPr>
                        <a:t>. rozvoje</a:t>
                      </a:r>
                      <a:endParaRPr lang="cs-CZ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u="none" strike="noStrike">
                          <a:effectLst/>
                        </a:rPr>
                        <a:t>NE</a:t>
                      </a:r>
                      <a:endParaRPr lang="cs-CZ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543156204"/>
                  </a:ext>
                </a:extLst>
              </a:tr>
              <a:tr h="29805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1" u="none" strike="noStrike">
                          <a:effectLst/>
                        </a:rPr>
                        <a:t>Městský úřad Kralovice</a:t>
                      </a:r>
                      <a:endParaRPr lang="cs-CZ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1" u="none" strike="noStrike" dirty="0">
                          <a:effectLst/>
                        </a:rPr>
                        <a:t>Odbor životního prostředí</a:t>
                      </a:r>
                      <a:endParaRPr lang="cs-CZ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u="none" strike="noStrike" dirty="0" smtClean="0">
                          <a:effectLst/>
                        </a:rPr>
                        <a:t>ANO</a:t>
                      </a:r>
                      <a:endParaRPr lang="cs-CZ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008975892"/>
                  </a:ext>
                </a:extLst>
              </a:tr>
              <a:tr h="29805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1" u="none" strike="noStrike">
                          <a:effectLst/>
                        </a:rPr>
                        <a:t>Městský úřad Kralovice</a:t>
                      </a:r>
                      <a:endParaRPr lang="cs-CZ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1" u="none" strike="noStrike" dirty="0">
                          <a:effectLst/>
                        </a:rPr>
                        <a:t>Odbor </a:t>
                      </a:r>
                      <a:r>
                        <a:rPr lang="cs-CZ" sz="1100" b="1" u="none" strike="noStrike" dirty="0" err="1">
                          <a:effectLst/>
                        </a:rPr>
                        <a:t>reg</a:t>
                      </a:r>
                      <a:r>
                        <a:rPr lang="cs-CZ" sz="1100" b="1" u="none" strike="noStrike" dirty="0">
                          <a:effectLst/>
                        </a:rPr>
                        <a:t>. rozvoje a </a:t>
                      </a:r>
                      <a:r>
                        <a:rPr lang="cs-CZ" sz="1100" b="1" u="none" strike="noStrike" dirty="0" err="1">
                          <a:effectLst/>
                        </a:rPr>
                        <a:t>úz</a:t>
                      </a:r>
                      <a:r>
                        <a:rPr lang="cs-CZ" sz="1100" b="1" u="none" strike="noStrike" dirty="0">
                          <a:effectLst/>
                        </a:rPr>
                        <a:t>. plánu</a:t>
                      </a:r>
                      <a:endParaRPr lang="cs-CZ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u="none" strike="noStrike">
                          <a:effectLst/>
                        </a:rPr>
                        <a:t>ANO</a:t>
                      </a:r>
                      <a:endParaRPr lang="cs-CZ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56437078"/>
                  </a:ext>
                </a:extLst>
              </a:tr>
              <a:tr h="29805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1" u="none" strike="noStrike">
                          <a:effectLst/>
                        </a:rPr>
                        <a:t>Městský úřad Hořovice</a:t>
                      </a:r>
                      <a:endParaRPr lang="cs-CZ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1" u="none" strike="noStrike" dirty="0">
                          <a:effectLst/>
                        </a:rPr>
                        <a:t>Odbor výstavby a životního prostředí - ÚP</a:t>
                      </a:r>
                      <a:endParaRPr lang="cs-CZ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u="none" strike="noStrike" dirty="0">
                          <a:effectLst/>
                        </a:rPr>
                        <a:t>ANO</a:t>
                      </a:r>
                      <a:endParaRPr lang="cs-CZ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49735175"/>
                  </a:ext>
                </a:extLst>
              </a:tr>
              <a:tr h="29805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1" u="none" strike="noStrike">
                          <a:effectLst/>
                        </a:rPr>
                        <a:t>Městský úřad Hořovice</a:t>
                      </a:r>
                      <a:endParaRPr lang="cs-CZ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1" u="none" strike="noStrike" dirty="0">
                          <a:effectLst/>
                        </a:rPr>
                        <a:t>Odbor výstavby a životního prostředí - ŽP</a:t>
                      </a:r>
                      <a:endParaRPr lang="cs-CZ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u="none" strike="noStrike">
                          <a:effectLst/>
                        </a:rPr>
                        <a:t>ANO</a:t>
                      </a:r>
                      <a:endParaRPr lang="cs-CZ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358488"/>
                  </a:ext>
                </a:extLst>
              </a:tr>
              <a:tr h="29805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1" u="none" strike="noStrike">
                          <a:effectLst/>
                        </a:rPr>
                        <a:t>Městský úřad Příbram</a:t>
                      </a:r>
                      <a:endParaRPr lang="cs-CZ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1" u="none" strike="noStrike" dirty="0">
                          <a:effectLst/>
                        </a:rPr>
                        <a:t>Odbor životního prostředí</a:t>
                      </a:r>
                      <a:endParaRPr lang="cs-CZ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u="none" strike="noStrike" dirty="0" smtClean="0">
                          <a:effectLst/>
                        </a:rPr>
                        <a:t>ANO</a:t>
                      </a:r>
                      <a:endParaRPr lang="cs-CZ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524017646"/>
                  </a:ext>
                </a:extLst>
              </a:tr>
              <a:tr h="29805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1" u="none" strike="noStrike">
                          <a:effectLst/>
                        </a:rPr>
                        <a:t>Městský úřad Příbram</a:t>
                      </a:r>
                      <a:endParaRPr lang="cs-CZ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1" u="none" strike="noStrike" dirty="0">
                          <a:effectLst/>
                        </a:rPr>
                        <a:t>Odbor územního plánování</a:t>
                      </a:r>
                      <a:endParaRPr lang="cs-CZ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u="none" strike="noStrike">
                          <a:effectLst/>
                        </a:rPr>
                        <a:t>NE</a:t>
                      </a:r>
                      <a:endParaRPr lang="cs-CZ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838816860"/>
                  </a:ext>
                </a:extLst>
              </a:tr>
              <a:tr h="29805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1" u="none" strike="noStrike">
                          <a:effectLst/>
                        </a:rPr>
                        <a:t>Městský úřad Beroun</a:t>
                      </a:r>
                      <a:endParaRPr lang="cs-CZ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1" u="none" strike="noStrike" dirty="0">
                          <a:effectLst/>
                        </a:rPr>
                        <a:t>Odbor životního prostředí</a:t>
                      </a:r>
                      <a:endParaRPr lang="cs-CZ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u="none" strike="noStrike">
                          <a:effectLst/>
                        </a:rPr>
                        <a:t>NE</a:t>
                      </a:r>
                      <a:endParaRPr lang="cs-CZ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66143415"/>
                  </a:ext>
                </a:extLst>
              </a:tr>
              <a:tr h="29805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1" u="none" strike="noStrike">
                          <a:effectLst/>
                        </a:rPr>
                        <a:t>Městský úřad Beroun</a:t>
                      </a:r>
                      <a:endParaRPr lang="cs-CZ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1" u="none" strike="noStrike" dirty="0">
                          <a:effectLst/>
                        </a:rPr>
                        <a:t>Oddělení </a:t>
                      </a:r>
                      <a:r>
                        <a:rPr lang="cs-CZ" sz="1100" b="1" u="none" strike="noStrike" dirty="0" err="1">
                          <a:effectLst/>
                        </a:rPr>
                        <a:t>úz</a:t>
                      </a:r>
                      <a:r>
                        <a:rPr lang="cs-CZ" sz="1100" b="1" u="none" strike="noStrike" dirty="0">
                          <a:effectLst/>
                        </a:rPr>
                        <a:t>. plánování a </a:t>
                      </a:r>
                      <a:r>
                        <a:rPr lang="cs-CZ" sz="1100" b="1" u="none" strike="noStrike" dirty="0" err="1">
                          <a:effectLst/>
                        </a:rPr>
                        <a:t>reg</a:t>
                      </a:r>
                      <a:r>
                        <a:rPr lang="cs-CZ" sz="1100" b="1" u="none" strike="noStrike" dirty="0">
                          <a:effectLst/>
                        </a:rPr>
                        <a:t>. rozvoje</a:t>
                      </a:r>
                      <a:endParaRPr lang="cs-CZ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u="none" strike="noStrike">
                          <a:effectLst/>
                        </a:rPr>
                        <a:t>ANO</a:t>
                      </a:r>
                      <a:endParaRPr lang="cs-CZ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469789285"/>
                  </a:ext>
                </a:extLst>
              </a:tr>
              <a:tr h="29805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1" u="none" strike="noStrike">
                          <a:effectLst/>
                        </a:rPr>
                        <a:t>Magistrát hl. města Prahy</a:t>
                      </a:r>
                      <a:endParaRPr lang="cs-CZ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1" u="none" strike="noStrike" dirty="0">
                          <a:effectLst/>
                        </a:rPr>
                        <a:t>Odbor ochrany prostředí</a:t>
                      </a:r>
                      <a:endParaRPr lang="cs-CZ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u="none" strike="noStrike">
                          <a:effectLst/>
                        </a:rPr>
                        <a:t>ANO</a:t>
                      </a:r>
                      <a:endParaRPr lang="cs-CZ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936044861"/>
                  </a:ext>
                </a:extLst>
              </a:tr>
              <a:tr h="29805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1" u="none" strike="noStrike">
                          <a:effectLst/>
                        </a:rPr>
                        <a:t>Magistrát hl. města Prahy</a:t>
                      </a:r>
                      <a:endParaRPr lang="cs-CZ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1" u="none" strike="noStrike" dirty="0">
                          <a:effectLst/>
                        </a:rPr>
                        <a:t>Odbor územního rozvoje</a:t>
                      </a:r>
                      <a:endParaRPr lang="cs-CZ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1" u="none" strike="noStrike" dirty="0">
                          <a:effectLst/>
                        </a:rPr>
                        <a:t>NE</a:t>
                      </a:r>
                      <a:endParaRPr lang="cs-CZ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16775146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868306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délník 3"/>
          <p:cNvSpPr/>
          <p:nvPr/>
        </p:nvSpPr>
        <p:spPr>
          <a:xfrm>
            <a:off x="7456700" y="129394"/>
            <a:ext cx="1435780" cy="5238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cs-CZ" dirty="0"/>
          </a:p>
        </p:txBody>
      </p:sp>
      <p:sp>
        <p:nvSpPr>
          <p:cNvPr id="3" name="Zástupný symbol pro číslo snímku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34A8917-ACC8-47BE-963A-793028AE5469}" type="slidenum">
              <a:rPr lang="sv-SE"/>
              <a:pPr>
                <a:defRPr/>
              </a:pPr>
              <a:t>12</a:t>
            </a:fld>
            <a:endParaRPr lang="sv-SE" dirty="0"/>
          </a:p>
        </p:txBody>
      </p:sp>
      <p:grpSp>
        <p:nvGrpSpPr>
          <p:cNvPr id="10" name="Skupina 9"/>
          <p:cNvGrpSpPr/>
          <p:nvPr/>
        </p:nvGrpSpPr>
        <p:grpSpPr>
          <a:xfrm>
            <a:off x="7380312" y="131764"/>
            <a:ext cx="1625590" cy="488924"/>
            <a:chOff x="7380312" y="131764"/>
            <a:chExt cx="1625590" cy="488924"/>
          </a:xfrm>
        </p:grpSpPr>
        <p:sp>
          <p:nvSpPr>
            <p:cNvPr id="11" name="Obdélník 10"/>
            <p:cNvSpPr/>
            <p:nvPr/>
          </p:nvSpPr>
          <p:spPr>
            <a:xfrm>
              <a:off x="7380312" y="131764"/>
              <a:ext cx="1505992" cy="48892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cs-CZ" dirty="0"/>
            </a:p>
          </p:txBody>
        </p:sp>
        <p:pic>
          <p:nvPicPr>
            <p:cNvPr id="12" name="Obrázek 9"/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464284" y="248938"/>
              <a:ext cx="876550" cy="2826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3" name="Obrázek 8"/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460432" y="248938"/>
              <a:ext cx="545470" cy="3717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4" name="Rubrik 4"/>
          <p:cNvSpPr txBox="1">
            <a:spLocks/>
          </p:cNvSpPr>
          <p:nvPr/>
        </p:nvSpPr>
        <p:spPr bwMode="auto">
          <a:xfrm>
            <a:off x="338436" y="434813"/>
            <a:ext cx="7041876" cy="676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rmAutofit fontScale="90000" lnSpcReduction="20000"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fontAlgn="auto">
              <a:spcAft>
                <a:spcPts val="0"/>
              </a:spcAft>
              <a:defRPr/>
            </a:pPr>
            <a:r>
              <a:rPr lang="cs-CZ" kern="0" dirty="0" smtClean="0"/>
              <a:t>Etapa </a:t>
            </a:r>
            <a:r>
              <a:rPr lang="cs-CZ" kern="0" dirty="0"/>
              <a:t>C </a:t>
            </a:r>
            <a:r>
              <a:rPr lang="cs-CZ" kern="0" dirty="0" smtClean="0"/>
              <a:t>– Majetkoprávní vypořádání:</a:t>
            </a:r>
            <a:br>
              <a:rPr lang="cs-CZ" kern="0" dirty="0" smtClean="0"/>
            </a:br>
            <a:endParaRPr lang="en-GB" kern="0" dirty="0"/>
          </a:p>
        </p:txBody>
      </p:sp>
      <p:sp>
        <p:nvSpPr>
          <p:cNvPr id="2" name="Obdélník 1"/>
          <p:cNvSpPr/>
          <p:nvPr/>
        </p:nvSpPr>
        <p:spPr>
          <a:xfrm>
            <a:off x="267135" y="770443"/>
            <a:ext cx="8539161" cy="91563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lvl="0" indent="-285750">
              <a:lnSpc>
                <a:spcPct val="15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cs-CZ" b="1" u="sng" dirty="0" smtClean="0">
                <a:solidFill>
                  <a:srgbClr val="000000"/>
                </a:solidFill>
              </a:rPr>
              <a:t>Dotčené obce:</a:t>
            </a:r>
          </a:p>
          <a:p>
            <a:pPr marL="742950" lvl="1" indent="-285750">
              <a:lnSpc>
                <a:spcPct val="15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cs-CZ" sz="1600" b="1" dirty="0" smtClean="0">
                <a:solidFill>
                  <a:srgbClr val="000000"/>
                </a:solidFill>
              </a:rPr>
              <a:t>58 obcí ze 113 dotčených se k termínu odevzdání etapy vyjádřilo</a:t>
            </a:r>
          </a:p>
        </p:txBody>
      </p:sp>
    </p:spTree>
    <p:extLst>
      <p:ext uri="{BB962C8B-B14F-4D97-AF65-F5344CB8AC3E}">
        <p14:creationId xmlns:p14="http://schemas.microsoft.com/office/powerpoint/2010/main" val="5079995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délník 3"/>
          <p:cNvSpPr/>
          <p:nvPr/>
        </p:nvSpPr>
        <p:spPr>
          <a:xfrm>
            <a:off x="7456700" y="129394"/>
            <a:ext cx="1435780" cy="5238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cs-CZ" dirty="0"/>
          </a:p>
        </p:txBody>
      </p:sp>
      <p:sp>
        <p:nvSpPr>
          <p:cNvPr id="3" name="Zástupný symbol pro číslo snímku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34A8917-ACC8-47BE-963A-793028AE5469}" type="slidenum">
              <a:rPr lang="sv-SE"/>
              <a:pPr>
                <a:defRPr/>
              </a:pPr>
              <a:t>13</a:t>
            </a:fld>
            <a:endParaRPr lang="sv-SE" dirty="0"/>
          </a:p>
        </p:txBody>
      </p:sp>
      <p:grpSp>
        <p:nvGrpSpPr>
          <p:cNvPr id="10" name="Skupina 9"/>
          <p:cNvGrpSpPr/>
          <p:nvPr/>
        </p:nvGrpSpPr>
        <p:grpSpPr>
          <a:xfrm>
            <a:off x="7380312" y="131764"/>
            <a:ext cx="1625590" cy="488924"/>
            <a:chOff x="7380312" y="131764"/>
            <a:chExt cx="1625590" cy="488924"/>
          </a:xfrm>
        </p:grpSpPr>
        <p:sp>
          <p:nvSpPr>
            <p:cNvPr id="11" name="Obdélník 10"/>
            <p:cNvSpPr/>
            <p:nvPr/>
          </p:nvSpPr>
          <p:spPr>
            <a:xfrm>
              <a:off x="7380312" y="131764"/>
              <a:ext cx="1505992" cy="48892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cs-CZ" dirty="0"/>
            </a:p>
          </p:txBody>
        </p:sp>
        <p:pic>
          <p:nvPicPr>
            <p:cNvPr id="12" name="Obrázek 9"/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464284" y="248938"/>
              <a:ext cx="876550" cy="2826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3" name="Obrázek 8"/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460432" y="248938"/>
              <a:ext cx="545470" cy="3717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4" name="Rubrik 4"/>
          <p:cNvSpPr txBox="1">
            <a:spLocks/>
          </p:cNvSpPr>
          <p:nvPr/>
        </p:nvSpPr>
        <p:spPr bwMode="auto">
          <a:xfrm>
            <a:off x="338436" y="434813"/>
            <a:ext cx="7041876" cy="676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rmAutofit fontScale="90000" lnSpcReduction="20000"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fontAlgn="auto">
              <a:spcAft>
                <a:spcPts val="0"/>
              </a:spcAft>
              <a:defRPr/>
            </a:pPr>
            <a:r>
              <a:rPr lang="cs-CZ" kern="0" dirty="0" smtClean="0"/>
              <a:t>Etapa </a:t>
            </a:r>
            <a:r>
              <a:rPr lang="cs-CZ" kern="0" dirty="0"/>
              <a:t>C </a:t>
            </a:r>
            <a:r>
              <a:rPr lang="cs-CZ" kern="0" dirty="0" smtClean="0"/>
              <a:t>– Majetkoprávní vypořádání:</a:t>
            </a:r>
            <a:br>
              <a:rPr lang="cs-CZ" kern="0" dirty="0" smtClean="0"/>
            </a:br>
            <a:endParaRPr lang="en-GB" kern="0" dirty="0"/>
          </a:p>
        </p:txBody>
      </p:sp>
      <p:sp>
        <p:nvSpPr>
          <p:cNvPr id="2" name="Obdélník 1"/>
          <p:cNvSpPr/>
          <p:nvPr/>
        </p:nvSpPr>
        <p:spPr>
          <a:xfrm>
            <a:off x="267135" y="770443"/>
            <a:ext cx="8539161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lvl="0" indent="-285750">
              <a:lnSpc>
                <a:spcPct val="15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cs-CZ" b="1" u="sng" dirty="0" smtClean="0">
                <a:solidFill>
                  <a:srgbClr val="000000"/>
                </a:solidFill>
              </a:rPr>
              <a:t>Dotčení uživatelé zemědělských pozemků:</a:t>
            </a:r>
          </a:p>
          <a:p>
            <a:pPr marL="742950" lvl="1" indent="-285750">
              <a:lnSpc>
                <a:spcPct val="15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cs-CZ" sz="1600" b="1" dirty="0" smtClean="0">
                <a:solidFill>
                  <a:srgbClr val="000000"/>
                </a:solidFill>
              </a:rPr>
              <a:t>16 uživatelů z 62 obeslaných </a:t>
            </a:r>
            <a:r>
              <a:rPr lang="cs-CZ" sz="1600" b="1" dirty="0">
                <a:solidFill>
                  <a:srgbClr val="000000"/>
                </a:solidFill>
              </a:rPr>
              <a:t>se k termínu odevzdání etapy </a:t>
            </a:r>
            <a:r>
              <a:rPr lang="cs-CZ" sz="1600" b="1" dirty="0" smtClean="0">
                <a:solidFill>
                  <a:srgbClr val="000000"/>
                </a:solidFill>
              </a:rPr>
              <a:t>vyjádřilo</a:t>
            </a:r>
          </a:p>
          <a:p>
            <a:pPr marL="742950" lvl="1" indent="-285750">
              <a:lnSpc>
                <a:spcPct val="15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cs-CZ" sz="1600" b="1" dirty="0" smtClean="0">
                <a:solidFill>
                  <a:srgbClr val="000000"/>
                </a:solidFill>
              </a:rPr>
              <a:t>7x souhlas / 9x nesouhlas</a:t>
            </a:r>
          </a:p>
        </p:txBody>
      </p:sp>
      <p:pic>
        <p:nvPicPr>
          <p:cNvPr id="5" name="Obrázek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103910" y="2093882"/>
            <a:ext cx="4706826" cy="40275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32488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délník 3"/>
          <p:cNvSpPr/>
          <p:nvPr/>
        </p:nvSpPr>
        <p:spPr>
          <a:xfrm>
            <a:off x="7456700" y="129394"/>
            <a:ext cx="1435780" cy="5238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cs-CZ" dirty="0"/>
          </a:p>
        </p:txBody>
      </p:sp>
      <p:sp>
        <p:nvSpPr>
          <p:cNvPr id="3" name="Zástupný symbol pro číslo snímku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34A8917-ACC8-47BE-963A-793028AE5469}" type="slidenum">
              <a:rPr lang="sv-SE"/>
              <a:pPr>
                <a:defRPr/>
              </a:pPr>
              <a:t>14</a:t>
            </a:fld>
            <a:endParaRPr lang="sv-SE" dirty="0"/>
          </a:p>
        </p:txBody>
      </p:sp>
      <p:grpSp>
        <p:nvGrpSpPr>
          <p:cNvPr id="10" name="Skupina 9"/>
          <p:cNvGrpSpPr/>
          <p:nvPr/>
        </p:nvGrpSpPr>
        <p:grpSpPr>
          <a:xfrm>
            <a:off x="7380312" y="131764"/>
            <a:ext cx="1625590" cy="488924"/>
            <a:chOff x="7380312" y="131764"/>
            <a:chExt cx="1625590" cy="488924"/>
          </a:xfrm>
        </p:grpSpPr>
        <p:sp>
          <p:nvSpPr>
            <p:cNvPr id="11" name="Obdélník 10"/>
            <p:cNvSpPr/>
            <p:nvPr/>
          </p:nvSpPr>
          <p:spPr>
            <a:xfrm>
              <a:off x="7380312" y="131764"/>
              <a:ext cx="1505992" cy="48892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cs-CZ" dirty="0"/>
            </a:p>
          </p:txBody>
        </p:sp>
        <p:pic>
          <p:nvPicPr>
            <p:cNvPr id="12" name="Obrázek 9"/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464284" y="248938"/>
              <a:ext cx="876550" cy="2826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3" name="Obrázek 8"/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460432" y="248938"/>
              <a:ext cx="545470" cy="3717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4" name="Rubrik 4"/>
          <p:cNvSpPr txBox="1">
            <a:spLocks/>
          </p:cNvSpPr>
          <p:nvPr/>
        </p:nvSpPr>
        <p:spPr bwMode="auto">
          <a:xfrm>
            <a:off x="338436" y="434813"/>
            <a:ext cx="7041876" cy="676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rmAutofit fontScale="90000" lnSpcReduction="20000"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fontAlgn="auto">
              <a:spcAft>
                <a:spcPts val="0"/>
              </a:spcAft>
              <a:defRPr/>
            </a:pPr>
            <a:r>
              <a:rPr lang="cs-CZ" kern="0" dirty="0" smtClean="0"/>
              <a:t>Etapa </a:t>
            </a:r>
            <a:r>
              <a:rPr lang="cs-CZ" kern="0" dirty="0"/>
              <a:t>C </a:t>
            </a:r>
            <a:r>
              <a:rPr lang="cs-CZ" kern="0" dirty="0" smtClean="0"/>
              <a:t>– Majetkoprávní vypořádání:</a:t>
            </a:r>
            <a:br>
              <a:rPr lang="cs-CZ" kern="0" dirty="0" smtClean="0"/>
            </a:br>
            <a:endParaRPr lang="en-GB" kern="0" dirty="0"/>
          </a:p>
        </p:txBody>
      </p:sp>
      <p:sp>
        <p:nvSpPr>
          <p:cNvPr id="2" name="Obdélník 1"/>
          <p:cNvSpPr/>
          <p:nvPr/>
        </p:nvSpPr>
        <p:spPr>
          <a:xfrm>
            <a:off x="267135" y="770443"/>
            <a:ext cx="8539161" cy="91563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lvl="0" indent="-285750">
              <a:lnSpc>
                <a:spcPct val="15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cs-CZ" b="1" u="sng" dirty="0" smtClean="0">
                <a:solidFill>
                  <a:srgbClr val="000000"/>
                </a:solidFill>
              </a:rPr>
              <a:t>Dotčení vlastníci:</a:t>
            </a:r>
          </a:p>
          <a:p>
            <a:pPr marL="742950" lvl="1" indent="-285750">
              <a:lnSpc>
                <a:spcPct val="15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cs-CZ" sz="1600" b="1" dirty="0" smtClean="0">
                <a:solidFill>
                  <a:srgbClr val="000000"/>
                </a:solidFill>
              </a:rPr>
              <a:t>Vyjádření vlastníků byla rozdělena do následujících kategorií:</a:t>
            </a:r>
          </a:p>
        </p:txBody>
      </p:sp>
      <p:graphicFrame>
        <p:nvGraphicFramePr>
          <p:cNvPr id="6" name="Tabulka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02065121"/>
              </p:ext>
            </p:extLst>
          </p:nvPr>
        </p:nvGraphicFramePr>
        <p:xfrm>
          <a:off x="710777" y="1808165"/>
          <a:ext cx="7720858" cy="4115804"/>
        </p:xfrm>
        <a:graphic>
          <a:graphicData uri="http://schemas.openxmlformats.org/drawingml/2006/table">
            <a:tbl>
              <a:tblPr firstRow="1" firstCol="1" bandRow="1"/>
              <a:tblGrid>
                <a:gridCol w="2361039">
                  <a:extLst>
                    <a:ext uri="{9D8B030D-6E8A-4147-A177-3AD203B41FA5}">
                      <a16:colId xmlns:a16="http://schemas.microsoft.com/office/drawing/2014/main" val="2373770906"/>
                    </a:ext>
                  </a:extLst>
                </a:gridCol>
                <a:gridCol w="5359819">
                  <a:extLst>
                    <a:ext uri="{9D8B030D-6E8A-4147-A177-3AD203B41FA5}">
                      <a16:colId xmlns:a16="http://schemas.microsoft.com/office/drawing/2014/main" val="4279802381"/>
                    </a:ext>
                  </a:extLst>
                </a:gridCol>
              </a:tblGrid>
              <a:tr h="268274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cs-CZ" sz="1000" b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Stanovisko vlastníka</a:t>
                      </a:r>
                      <a:endParaRPr lang="cs-CZ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370" marR="4337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cs-CZ" sz="1000" b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Popis</a:t>
                      </a:r>
                      <a:endParaRPr lang="cs-CZ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370" marR="4337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45122231"/>
                  </a:ext>
                </a:extLst>
              </a:tr>
              <a:tr h="384753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cs-CZ" sz="1000" b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Souhlasné stanovisko</a:t>
                      </a:r>
                      <a:endParaRPr lang="cs-CZ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370" marR="4337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cs-CZ" sz="10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Vlastník / spoluvlastníci pozemku předběžně souhlasí bez zásadních připomínek.</a:t>
                      </a:r>
                      <a:endParaRPr lang="cs-CZ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370" marR="4337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56290883"/>
                  </a:ext>
                </a:extLst>
              </a:tr>
              <a:tr h="384753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cs-CZ" sz="1000" b="1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Souhlasné stanovisko nejednotné</a:t>
                      </a:r>
                      <a:endParaRPr lang="cs-CZ" sz="10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370" marR="4337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cs-CZ" sz="10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Část </a:t>
                      </a:r>
                      <a:r>
                        <a:rPr lang="cs-CZ" sz="100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spoluvlastníků </a:t>
                      </a:r>
                      <a:r>
                        <a:rPr lang="cs-CZ" sz="10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předběžně souhlasí, část se nevyjádřila.</a:t>
                      </a:r>
                      <a:endParaRPr lang="cs-CZ" sz="10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370" marR="4337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44628290"/>
                  </a:ext>
                </a:extLst>
              </a:tr>
              <a:tr h="384753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cs-CZ" sz="1000" b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Souhlasné stanovisko s podmínkou</a:t>
                      </a:r>
                      <a:endParaRPr lang="cs-CZ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370" marR="4337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cs-CZ" sz="10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Vlastník / spoluvlastníci pozemku předběžně souhlasí s podmínkami.</a:t>
                      </a:r>
                      <a:endParaRPr lang="cs-CZ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370" marR="4337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47081815"/>
                  </a:ext>
                </a:extLst>
              </a:tr>
              <a:tr h="384753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cs-CZ" sz="1000" b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Nesouhlasné stanovisko</a:t>
                      </a:r>
                      <a:endParaRPr lang="cs-CZ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370" marR="4337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cs-CZ" sz="10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Vlastník / spoluvlastníci pozemku nesouhlasí.</a:t>
                      </a:r>
                      <a:endParaRPr lang="cs-CZ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370" marR="4337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33697120"/>
                  </a:ext>
                </a:extLst>
              </a:tr>
              <a:tr h="384753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cs-CZ" sz="1000" b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Nesouhlasné stanovisko nejednotné</a:t>
                      </a:r>
                      <a:endParaRPr lang="cs-CZ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370" marR="4337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cs-CZ" sz="10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Část </a:t>
                      </a:r>
                      <a:r>
                        <a:rPr lang="cs-CZ" sz="100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spoluvlastníků </a:t>
                      </a:r>
                      <a:r>
                        <a:rPr lang="cs-CZ" sz="10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nesouhlasí, část se nevyjádřila nebo se vyjádřila jiným způsobem.</a:t>
                      </a:r>
                      <a:endParaRPr lang="cs-CZ" sz="10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370" marR="4337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21072859"/>
                  </a:ext>
                </a:extLst>
              </a:tr>
              <a:tr h="384753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cs-CZ" sz="1000" b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Vlastníka nelze dohledat</a:t>
                      </a:r>
                      <a:endParaRPr lang="cs-CZ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370" marR="4337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cs-CZ" sz="10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Vlastníka pozemku nelze dohledat, na adrese neznámý, zemřel.</a:t>
                      </a:r>
                      <a:endParaRPr lang="cs-CZ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370" marR="4337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27136480"/>
                  </a:ext>
                </a:extLst>
              </a:tr>
              <a:tr h="384753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cs-CZ" sz="1000" b="1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Vlastník se nevyjádřil</a:t>
                      </a:r>
                      <a:endParaRPr lang="cs-CZ" sz="10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370" marR="4337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cs-CZ" sz="10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Vyjádření vlastníka pozemku se nepodařilo zajistit. </a:t>
                      </a:r>
                      <a:endParaRPr lang="cs-CZ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370" marR="4337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56093497"/>
                  </a:ext>
                </a:extLst>
              </a:tr>
              <a:tr h="384753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cs-CZ" sz="1000" b="1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Pozemek správce vodního toku</a:t>
                      </a:r>
                      <a:endParaRPr lang="cs-CZ" sz="10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370" marR="4337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cs-CZ" sz="10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Pozemek v majetku státu a správě státních podniků Povodí Vltavy, Lesů České republiky.</a:t>
                      </a:r>
                      <a:endParaRPr lang="cs-CZ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370" marR="4337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94687386"/>
                  </a:ext>
                </a:extLst>
              </a:tr>
              <a:tr h="384753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cs-CZ" sz="1000" b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Pozemek v majetku státu</a:t>
                      </a:r>
                      <a:endParaRPr lang="cs-CZ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370" marR="4337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cs-CZ" sz="10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Pozemek v majetku státu a správě státních podniků Státního pozemkového úřadu nebo Úřadu pro zastupování státu ve věcech majetkových.</a:t>
                      </a:r>
                      <a:endParaRPr lang="cs-CZ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370" marR="4337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19305413"/>
                  </a:ext>
                </a:extLst>
              </a:tr>
              <a:tr h="384753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cs-CZ" sz="1000" b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Pozemek obce bez vyjádření</a:t>
                      </a:r>
                      <a:endParaRPr lang="cs-CZ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370" marR="4337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cs-CZ" sz="10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Pozemky v majetku obce (městyse, města), která se ke studii nevyjádřila.</a:t>
                      </a:r>
                      <a:endParaRPr lang="cs-CZ" sz="10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370" marR="4337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3245043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333607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délník 3"/>
          <p:cNvSpPr/>
          <p:nvPr/>
        </p:nvSpPr>
        <p:spPr>
          <a:xfrm>
            <a:off x="7456700" y="129394"/>
            <a:ext cx="1435780" cy="5238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cs-CZ" dirty="0"/>
          </a:p>
        </p:txBody>
      </p:sp>
      <p:sp>
        <p:nvSpPr>
          <p:cNvPr id="3" name="Zástupný symbol pro číslo snímku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34A8917-ACC8-47BE-963A-793028AE5469}" type="slidenum">
              <a:rPr lang="sv-SE"/>
              <a:pPr>
                <a:defRPr/>
              </a:pPr>
              <a:t>15</a:t>
            </a:fld>
            <a:endParaRPr lang="sv-SE" dirty="0"/>
          </a:p>
        </p:txBody>
      </p:sp>
      <p:grpSp>
        <p:nvGrpSpPr>
          <p:cNvPr id="10" name="Skupina 9"/>
          <p:cNvGrpSpPr/>
          <p:nvPr/>
        </p:nvGrpSpPr>
        <p:grpSpPr>
          <a:xfrm>
            <a:off x="7380312" y="131764"/>
            <a:ext cx="1625590" cy="488924"/>
            <a:chOff x="7380312" y="131764"/>
            <a:chExt cx="1625590" cy="488924"/>
          </a:xfrm>
        </p:grpSpPr>
        <p:sp>
          <p:nvSpPr>
            <p:cNvPr id="11" name="Obdélník 10"/>
            <p:cNvSpPr/>
            <p:nvPr/>
          </p:nvSpPr>
          <p:spPr>
            <a:xfrm>
              <a:off x="7380312" y="131764"/>
              <a:ext cx="1505992" cy="48892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cs-CZ" dirty="0"/>
            </a:p>
          </p:txBody>
        </p:sp>
        <p:pic>
          <p:nvPicPr>
            <p:cNvPr id="12" name="Obrázek 9"/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464284" y="248938"/>
              <a:ext cx="876550" cy="2826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3" name="Obrázek 8"/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460432" y="248938"/>
              <a:ext cx="545470" cy="3717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4" name="Rubrik 4"/>
          <p:cNvSpPr txBox="1">
            <a:spLocks/>
          </p:cNvSpPr>
          <p:nvPr/>
        </p:nvSpPr>
        <p:spPr bwMode="auto">
          <a:xfrm>
            <a:off x="338436" y="434813"/>
            <a:ext cx="7041876" cy="676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rmAutofit fontScale="90000" lnSpcReduction="20000"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fontAlgn="auto">
              <a:spcAft>
                <a:spcPts val="0"/>
              </a:spcAft>
              <a:defRPr/>
            </a:pPr>
            <a:r>
              <a:rPr lang="cs-CZ" kern="0" dirty="0" smtClean="0"/>
              <a:t>Etapa </a:t>
            </a:r>
            <a:r>
              <a:rPr lang="cs-CZ" kern="0" dirty="0"/>
              <a:t>C </a:t>
            </a:r>
            <a:r>
              <a:rPr lang="cs-CZ" kern="0" dirty="0" smtClean="0"/>
              <a:t>– Majetkoprávní vypořádání:</a:t>
            </a:r>
            <a:br>
              <a:rPr lang="cs-CZ" kern="0" dirty="0" smtClean="0"/>
            </a:br>
            <a:endParaRPr lang="en-GB" kern="0" dirty="0"/>
          </a:p>
        </p:txBody>
      </p:sp>
      <p:sp>
        <p:nvSpPr>
          <p:cNvPr id="2" name="Obdélník 1"/>
          <p:cNvSpPr/>
          <p:nvPr/>
        </p:nvSpPr>
        <p:spPr>
          <a:xfrm>
            <a:off x="267135" y="770443"/>
            <a:ext cx="8539161" cy="91563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lvl="0" indent="-285750">
              <a:lnSpc>
                <a:spcPct val="15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cs-CZ" b="1" u="sng" dirty="0" smtClean="0">
                <a:solidFill>
                  <a:srgbClr val="000000"/>
                </a:solidFill>
              </a:rPr>
              <a:t>Dotčení vlastníci:</a:t>
            </a:r>
            <a:r>
              <a:rPr lang="cs-CZ" b="1" dirty="0" smtClean="0">
                <a:solidFill>
                  <a:srgbClr val="000000"/>
                </a:solidFill>
              </a:rPr>
              <a:t>					 </a:t>
            </a:r>
            <a:r>
              <a:rPr lang="cs-CZ" b="1" dirty="0" smtClean="0">
                <a:solidFill>
                  <a:srgbClr val="00B050"/>
                </a:solidFill>
              </a:rPr>
              <a:t>25%</a:t>
            </a:r>
            <a:r>
              <a:rPr lang="cs-CZ" b="1" dirty="0" smtClean="0">
                <a:solidFill>
                  <a:srgbClr val="000000"/>
                </a:solidFill>
              </a:rPr>
              <a:t> – </a:t>
            </a:r>
            <a:r>
              <a:rPr lang="cs-CZ" b="1" dirty="0" smtClean="0">
                <a:solidFill>
                  <a:srgbClr val="FF0000"/>
                </a:solidFill>
              </a:rPr>
              <a:t>19%</a:t>
            </a:r>
            <a:r>
              <a:rPr lang="cs-CZ" b="1" dirty="0" smtClean="0">
                <a:solidFill>
                  <a:srgbClr val="000000"/>
                </a:solidFill>
              </a:rPr>
              <a:t> – </a:t>
            </a:r>
            <a:r>
              <a:rPr lang="cs-CZ" b="1" dirty="0" smtClean="0">
                <a:solidFill>
                  <a:schemeClr val="bg1">
                    <a:lumMod val="50000"/>
                  </a:schemeClr>
                </a:solidFill>
              </a:rPr>
              <a:t>56%</a:t>
            </a:r>
            <a:r>
              <a:rPr lang="cs-CZ" b="1" dirty="0" smtClean="0">
                <a:solidFill>
                  <a:srgbClr val="000000"/>
                </a:solidFill>
              </a:rPr>
              <a:t> </a:t>
            </a:r>
            <a:endParaRPr lang="cs-CZ" b="1" u="sng" dirty="0" smtClean="0">
              <a:solidFill>
                <a:srgbClr val="000000"/>
              </a:solidFill>
            </a:endParaRPr>
          </a:p>
          <a:p>
            <a:pPr marL="742950" lvl="1" indent="-285750">
              <a:lnSpc>
                <a:spcPct val="15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cs-CZ" sz="1600" b="1" dirty="0" smtClean="0">
                <a:solidFill>
                  <a:srgbClr val="000000"/>
                </a:solidFill>
              </a:rPr>
              <a:t>Souhrnné vyhodnocení vyjádření dotčených vlastníků pozemků:</a:t>
            </a:r>
          </a:p>
        </p:txBody>
      </p:sp>
      <p:graphicFrame>
        <p:nvGraphicFramePr>
          <p:cNvPr id="7" name="Tabulka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1888820"/>
              </p:ext>
            </p:extLst>
          </p:nvPr>
        </p:nvGraphicFramePr>
        <p:xfrm>
          <a:off x="337359" y="1628800"/>
          <a:ext cx="8468939" cy="4752530"/>
        </p:xfrm>
        <a:graphic>
          <a:graphicData uri="http://schemas.openxmlformats.org/drawingml/2006/table">
            <a:tbl>
              <a:tblPr/>
              <a:tblGrid>
                <a:gridCol w="3321149">
                  <a:extLst>
                    <a:ext uri="{9D8B030D-6E8A-4147-A177-3AD203B41FA5}">
                      <a16:colId xmlns:a16="http://schemas.microsoft.com/office/drawing/2014/main" val="3104959521"/>
                    </a:ext>
                  </a:extLst>
                </a:gridCol>
                <a:gridCol w="817515">
                  <a:extLst>
                    <a:ext uri="{9D8B030D-6E8A-4147-A177-3AD203B41FA5}">
                      <a16:colId xmlns:a16="http://schemas.microsoft.com/office/drawing/2014/main" val="527853353"/>
                    </a:ext>
                  </a:extLst>
                </a:gridCol>
                <a:gridCol w="817515">
                  <a:extLst>
                    <a:ext uri="{9D8B030D-6E8A-4147-A177-3AD203B41FA5}">
                      <a16:colId xmlns:a16="http://schemas.microsoft.com/office/drawing/2014/main" val="1596026481"/>
                    </a:ext>
                  </a:extLst>
                </a:gridCol>
                <a:gridCol w="817515">
                  <a:extLst>
                    <a:ext uri="{9D8B030D-6E8A-4147-A177-3AD203B41FA5}">
                      <a16:colId xmlns:a16="http://schemas.microsoft.com/office/drawing/2014/main" val="1808543078"/>
                    </a:ext>
                  </a:extLst>
                </a:gridCol>
                <a:gridCol w="817515">
                  <a:extLst>
                    <a:ext uri="{9D8B030D-6E8A-4147-A177-3AD203B41FA5}">
                      <a16:colId xmlns:a16="http://schemas.microsoft.com/office/drawing/2014/main" val="2063279029"/>
                    </a:ext>
                  </a:extLst>
                </a:gridCol>
                <a:gridCol w="817515">
                  <a:extLst>
                    <a:ext uri="{9D8B030D-6E8A-4147-A177-3AD203B41FA5}">
                      <a16:colId xmlns:a16="http://schemas.microsoft.com/office/drawing/2014/main" val="3127312626"/>
                    </a:ext>
                  </a:extLst>
                </a:gridCol>
                <a:gridCol w="1060215">
                  <a:extLst>
                    <a:ext uri="{9D8B030D-6E8A-4147-A177-3AD203B41FA5}">
                      <a16:colId xmlns:a16="http://schemas.microsoft.com/office/drawing/2014/main" val="3955680164"/>
                    </a:ext>
                  </a:extLst>
                </a:gridCol>
              </a:tblGrid>
              <a:tr h="186374">
                <a:tc>
                  <a:txBody>
                    <a:bodyPr/>
                    <a:lstStyle/>
                    <a:p>
                      <a:pPr algn="l" fontAlgn="b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YHODNOCENÍ</a:t>
                      </a:r>
                    </a:p>
                  </a:txBody>
                  <a:tcPr marL="8825" marR="8825" marT="88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B</a:t>
                      </a:r>
                    </a:p>
                  </a:txBody>
                  <a:tcPr marL="8825" marR="8825" marT="88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o</a:t>
                      </a:r>
                    </a:p>
                  </a:txBody>
                  <a:tcPr marL="8825" marR="8825" marT="88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</a:t>
                      </a:r>
                    </a:p>
                  </a:txBody>
                  <a:tcPr marL="8825" marR="8825" marT="88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B</a:t>
                      </a:r>
                    </a:p>
                  </a:txBody>
                  <a:tcPr marL="8825" marR="8825" marT="88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B</a:t>
                      </a:r>
                    </a:p>
                  </a:txBody>
                  <a:tcPr marL="8825" marR="8825" marT="88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8825" marR="8825" marT="88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1602525"/>
                  </a:ext>
                </a:extLst>
              </a:tr>
              <a:tr h="186374">
                <a:tc>
                  <a:txBody>
                    <a:bodyPr/>
                    <a:lstStyle/>
                    <a:p>
                      <a:pPr algn="l" fontAlgn="b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 obeslaných vlastníků</a:t>
                      </a:r>
                    </a:p>
                  </a:txBody>
                  <a:tcPr marL="8825" marR="8825" marT="88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9</a:t>
                      </a:r>
                    </a:p>
                  </a:txBody>
                  <a:tcPr marL="8825" marR="8825" marT="88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4</a:t>
                      </a:r>
                    </a:p>
                  </a:txBody>
                  <a:tcPr marL="8825" marR="8825" marT="88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5</a:t>
                      </a:r>
                    </a:p>
                  </a:txBody>
                  <a:tcPr marL="8825" marR="8825" marT="88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7</a:t>
                      </a:r>
                    </a:p>
                  </a:txBody>
                  <a:tcPr marL="8825" marR="8825" marT="88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44</a:t>
                      </a:r>
                    </a:p>
                  </a:txBody>
                  <a:tcPr marL="8825" marR="8825" marT="88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49</a:t>
                      </a:r>
                    </a:p>
                  </a:txBody>
                  <a:tcPr marL="8825" marR="8825" marT="88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5389882"/>
                  </a:ext>
                </a:extLst>
              </a:tr>
              <a:tr h="186374">
                <a:tc>
                  <a:txBody>
                    <a:bodyPr/>
                    <a:lstStyle/>
                    <a:p>
                      <a:pPr algn="l" fontAlgn="b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se vyjádřilo</a:t>
                      </a:r>
                    </a:p>
                  </a:txBody>
                  <a:tcPr marL="8825" marR="8825" marT="88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</a:t>
                      </a:r>
                    </a:p>
                  </a:txBody>
                  <a:tcPr marL="8825" marR="8825" marT="88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2</a:t>
                      </a:r>
                    </a:p>
                  </a:txBody>
                  <a:tcPr marL="8825" marR="8825" marT="88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0</a:t>
                      </a:r>
                    </a:p>
                  </a:txBody>
                  <a:tcPr marL="8825" marR="8825" marT="88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8</a:t>
                      </a:r>
                    </a:p>
                  </a:txBody>
                  <a:tcPr marL="8825" marR="8825" marT="88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7</a:t>
                      </a:r>
                    </a:p>
                  </a:txBody>
                  <a:tcPr marL="8825" marR="8825" marT="88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8</a:t>
                      </a:r>
                    </a:p>
                  </a:txBody>
                  <a:tcPr marL="8825" marR="8825" marT="88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4437354"/>
                  </a:ext>
                </a:extLst>
              </a:tr>
              <a:tr h="186374">
                <a:tc>
                  <a:txBody>
                    <a:bodyPr/>
                    <a:lstStyle/>
                    <a:p>
                      <a:pPr algn="l" fontAlgn="b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 procentech</a:t>
                      </a:r>
                    </a:p>
                  </a:txBody>
                  <a:tcPr marL="8825" marR="8825" marT="88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%</a:t>
                      </a:r>
                    </a:p>
                  </a:txBody>
                  <a:tcPr marL="8825" marR="8825" marT="88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%</a:t>
                      </a:r>
                    </a:p>
                  </a:txBody>
                  <a:tcPr marL="8825" marR="8825" marT="88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%</a:t>
                      </a:r>
                    </a:p>
                  </a:txBody>
                  <a:tcPr marL="8825" marR="8825" marT="88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%</a:t>
                      </a:r>
                    </a:p>
                  </a:txBody>
                  <a:tcPr marL="8825" marR="8825" marT="88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%</a:t>
                      </a:r>
                    </a:p>
                  </a:txBody>
                  <a:tcPr marL="8825" marR="8825" marT="88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%</a:t>
                      </a:r>
                    </a:p>
                  </a:txBody>
                  <a:tcPr marL="8825" marR="8825" marT="88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82369927"/>
                  </a:ext>
                </a:extLst>
              </a:tr>
              <a:tr h="186374">
                <a:tc>
                  <a:txBody>
                    <a:bodyPr/>
                    <a:lstStyle/>
                    <a:p>
                      <a:pPr algn="l" fontAlgn="b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8825" marR="8825" marT="88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8825" marR="8825" marT="88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8825" marR="8825" marT="88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8825" marR="8825" marT="88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8825" marR="8825" marT="88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8825" marR="8825" marT="88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8825" marR="8825" marT="8825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54375397"/>
                  </a:ext>
                </a:extLst>
              </a:tr>
              <a:tr h="186374">
                <a:tc>
                  <a:txBody>
                    <a:bodyPr/>
                    <a:lstStyle/>
                    <a:p>
                      <a:pPr algn="l" fontAlgn="b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 dotčených pozemků</a:t>
                      </a:r>
                    </a:p>
                  </a:txBody>
                  <a:tcPr marL="8825" marR="8825" marT="88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6</a:t>
                      </a:r>
                    </a:p>
                  </a:txBody>
                  <a:tcPr marL="8825" marR="8825" marT="88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17</a:t>
                      </a:r>
                    </a:p>
                  </a:txBody>
                  <a:tcPr marL="8825" marR="8825" marT="88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87</a:t>
                      </a:r>
                    </a:p>
                  </a:txBody>
                  <a:tcPr marL="8825" marR="8825" marT="88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57</a:t>
                      </a:r>
                    </a:p>
                  </a:txBody>
                  <a:tcPr marL="8825" marR="8825" marT="88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85</a:t>
                      </a:r>
                    </a:p>
                  </a:txBody>
                  <a:tcPr marL="8825" marR="8825" marT="88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12</a:t>
                      </a:r>
                    </a:p>
                  </a:txBody>
                  <a:tcPr marL="8825" marR="8825" marT="88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0081957"/>
                  </a:ext>
                </a:extLst>
              </a:tr>
              <a:tr h="186374">
                <a:tc>
                  <a:txBody>
                    <a:bodyPr/>
                    <a:lstStyle/>
                    <a:p>
                      <a:pPr algn="l" fontAlgn="b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lze předběžně vyhodnotit</a:t>
                      </a:r>
                    </a:p>
                  </a:txBody>
                  <a:tcPr marL="8825" marR="8825" marT="88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6</a:t>
                      </a:r>
                    </a:p>
                  </a:txBody>
                  <a:tcPr marL="8825" marR="8825" marT="88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3</a:t>
                      </a:r>
                    </a:p>
                  </a:txBody>
                  <a:tcPr marL="8825" marR="8825" marT="88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57</a:t>
                      </a:r>
                    </a:p>
                  </a:txBody>
                  <a:tcPr marL="8825" marR="8825" marT="88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6</a:t>
                      </a:r>
                    </a:p>
                  </a:txBody>
                  <a:tcPr marL="8825" marR="8825" marT="88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90</a:t>
                      </a:r>
                    </a:p>
                  </a:txBody>
                  <a:tcPr marL="8825" marR="8825" marT="88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82</a:t>
                      </a:r>
                    </a:p>
                  </a:txBody>
                  <a:tcPr marL="8825" marR="8825" marT="88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38602165"/>
                  </a:ext>
                </a:extLst>
              </a:tr>
              <a:tr h="186374">
                <a:tc>
                  <a:txBody>
                    <a:bodyPr/>
                    <a:lstStyle/>
                    <a:p>
                      <a:pPr algn="l" fontAlgn="b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 procentech</a:t>
                      </a:r>
                    </a:p>
                  </a:txBody>
                  <a:tcPr marL="8825" marR="8825" marT="88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%</a:t>
                      </a:r>
                    </a:p>
                  </a:txBody>
                  <a:tcPr marL="8825" marR="8825" marT="88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%</a:t>
                      </a:r>
                    </a:p>
                  </a:txBody>
                  <a:tcPr marL="8825" marR="8825" marT="88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%</a:t>
                      </a:r>
                    </a:p>
                  </a:txBody>
                  <a:tcPr marL="8825" marR="8825" marT="88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%</a:t>
                      </a:r>
                    </a:p>
                  </a:txBody>
                  <a:tcPr marL="8825" marR="8825" marT="88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%</a:t>
                      </a:r>
                    </a:p>
                  </a:txBody>
                  <a:tcPr marL="8825" marR="8825" marT="88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%</a:t>
                      </a:r>
                    </a:p>
                  </a:txBody>
                  <a:tcPr marL="8825" marR="8825" marT="88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8379710"/>
                  </a:ext>
                </a:extLst>
              </a:tr>
              <a:tr h="186374">
                <a:tc>
                  <a:txBody>
                    <a:bodyPr/>
                    <a:lstStyle/>
                    <a:p>
                      <a:pPr algn="l" fontAlgn="b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8825" marR="8825" marT="88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8825" marR="8825" marT="88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8825" marR="8825" marT="88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8825" marR="8825" marT="88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8825" marR="8825" marT="88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8825" marR="8825" marT="88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8825" marR="8825" marT="8825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42165800"/>
                  </a:ext>
                </a:extLst>
              </a:tr>
              <a:tr h="195692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ouhlasné stanovisko</a:t>
                      </a:r>
                    </a:p>
                  </a:txBody>
                  <a:tcPr marL="8825" marR="8825" marT="88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59000072"/>
                  </a:ext>
                </a:extLst>
              </a:tr>
              <a:tr h="195692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ouhlasné stanovisko nejednotné</a:t>
                      </a:r>
                    </a:p>
                  </a:txBody>
                  <a:tcPr marL="8825" marR="8825" marT="88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2200936"/>
                  </a:ext>
                </a:extLst>
              </a:tr>
              <a:tr h="195692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ouhlasné stanovisko s podmínkou</a:t>
                      </a:r>
                    </a:p>
                  </a:txBody>
                  <a:tcPr marL="8825" marR="8825" marT="88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56975711"/>
                  </a:ext>
                </a:extLst>
              </a:tr>
              <a:tr h="195692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souhlasné stanovisko</a:t>
                      </a:r>
                    </a:p>
                  </a:txBody>
                  <a:tcPr marL="8825" marR="8825" marT="88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7045499"/>
                  </a:ext>
                </a:extLst>
              </a:tr>
              <a:tr h="195692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souhlasné stanovisko nejednotné</a:t>
                      </a:r>
                    </a:p>
                  </a:txBody>
                  <a:tcPr marL="8825" marR="8825" marT="88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8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38813815"/>
                  </a:ext>
                </a:extLst>
              </a:tr>
              <a:tr h="195692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lastníka nelze dohledat</a:t>
                      </a:r>
                    </a:p>
                  </a:txBody>
                  <a:tcPr marL="8825" marR="8825" marT="88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141898"/>
                  </a:ext>
                </a:extLst>
              </a:tr>
              <a:tr h="195692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lastník se nevyjádřil</a:t>
                      </a:r>
                    </a:p>
                  </a:txBody>
                  <a:tcPr marL="8825" marR="8825" marT="88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88479558"/>
                  </a:ext>
                </a:extLst>
              </a:tr>
              <a:tr h="195692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zemek správce vodního toku</a:t>
                      </a:r>
                    </a:p>
                  </a:txBody>
                  <a:tcPr marL="8825" marR="8825" marT="88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54692986"/>
                  </a:ext>
                </a:extLst>
              </a:tr>
              <a:tr h="195692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zemek v majetku státu</a:t>
                      </a:r>
                    </a:p>
                  </a:txBody>
                  <a:tcPr marL="8825" marR="8825" marT="88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98420792"/>
                  </a:ext>
                </a:extLst>
              </a:tr>
              <a:tr h="195692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zemek obce bez vyjádření</a:t>
                      </a:r>
                    </a:p>
                  </a:txBody>
                  <a:tcPr marL="8825" marR="8825" marT="88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79636234"/>
                  </a:ext>
                </a:extLst>
              </a:tr>
              <a:tr h="186374">
                <a:tc>
                  <a:txBody>
                    <a:bodyPr/>
                    <a:lstStyle/>
                    <a:p>
                      <a:pPr algn="l" fontAlgn="b"/>
                      <a:endParaRPr lang="cs-CZ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825" marR="8825" marT="88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825" marR="8825" marT="88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825" marR="8825" marT="88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825" marR="8825" marT="88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825" marR="8825" marT="88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825" marR="8825" marT="88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825" marR="8825" marT="88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49697124"/>
                  </a:ext>
                </a:extLst>
              </a:tr>
              <a:tr h="186374">
                <a:tc>
                  <a:txBody>
                    <a:bodyPr/>
                    <a:lstStyle/>
                    <a:p>
                      <a:pPr algn="l" fontAlgn="b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KTUALIZACE</a:t>
                      </a:r>
                    </a:p>
                  </a:txBody>
                  <a:tcPr marL="8825" marR="8825" marT="88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B</a:t>
                      </a:r>
                    </a:p>
                  </a:txBody>
                  <a:tcPr marL="8825" marR="8825" marT="88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o</a:t>
                      </a:r>
                    </a:p>
                  </a:txBody>
                  <a:tcPr marL="8825" marR="8825" marT="88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</a:t>
                      </a:r>
                    </a:p>
                  </a:txBody>
                  <a:tcPr marL="8825" marR="8825" marT="88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B</a:t>
                      </a:r>
                    </a:p>
                  </a:txBody>
                  <a:tcPr marL="8825" marR="8825" marT="88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B</a:t>
                      </a:r>
                    </a:p>
                  </a:txBody>
                  <a:tcPr marL="8825" marR="8825" marT="88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8825" marR="8825" marT="88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3567284"/>
                  </a:ext>
                </a:extLst>
              </a:tr>
              <a:tr h="186374">
                <a:tc>
                  <a:txBody>
                    <a:bodyPr/>
                    <a:lstStyle/>
                    <a:p>
                      <a:pPr algn="l" fontAlgn="b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 obeslaných vlastníků</a:t>
                      </a:r>
                    </a:p>
                  </a:txBody>
                  <a:tcPr marL="8825" marR="8825" marT="88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9</a:t>
                      </a:r>
                    </a:p>
                  </a:txBody>
                  <a:tcPr marL="8825" marR="8825" marT="88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4</a:t>
                      </a:r>
                    </a:p>
                  </a:txBody>
                  <a:tcPr marL="8825" marR="8825" marT="88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5</a:t>
                      </a:r>
                    </a:p>
                  </a:txBody>
                  <a:tcPr marL="8825" marR="8825" marT="88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7</a:t>
                      </a:r>
                    </a:p>
                  </a:txBody>
                  <a:tcPr marL="8825" marR="8825" marT="88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44</a:t>
                      </a:r>
                    </a:p>
                  </a:txBody>
                  <a:tcPr marL="8825" marR="8825" marT="88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49</a:t>
                      </a:r>
                    </a:p>
                  </a:txBody>
                  <a:tcPr marL="8825" marR="8825" marT="88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20641532"/>
                  </a:ext>
                </a:extLst>
              </a:tr>
              <a:tr h="186374">
                <a:tc>
                  <a:txBody>
                    <a:bodyPr/>
                    <a:lstStyle/>
                    <a:p>
                      <a:pPr algn="l" fontAlgn="b"/>
                      <a:r>
                        <a:rPr lang="cs-CZ" sz="1000" b="1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dodatečná vyjádření</a:t>
                      </a:r>
                    </a:p>
                  </a:txBody>
                  <a:tcPr marL="8825" marR="8825" marT="88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8825" marR="8825" marT="88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80</a:t>
                      </a:r>
                    </a:p>
                  </a:txBody>
                  <a:tcPr marL="8825" marR="8825" marT="88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103</a:t>
                      </a:r>
                    </a:p>
                  </a:txBody>
                  <a:tcPr marL="8825" marR="8825" marT="88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8825" marR="8825" marT="88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8825" marR="8825" marT="88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274</a:t>
                      </a:r>
                    </a:p>
                  </a:txBody>
                  <a:tcPr marL="8825" marR="8825" marT="88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10484956"/>
                  </a:ext>
                </a:extLst>
              </a:tr>
              <a:tr h="186374">
                <a:tc>
                  <a:txBody>
                    <a:bodyPr/>
                    <a:lstStyle/>
                    <a:p>
                      <a:pPr algn="l" fontAlgn="b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se vyjádřilo</a:t>
                      </a:r>
                    </a:p>
                  </a:txBody>
                  <a:tcPr marL="8825" marR="8825" marT="88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9</a:t>
                      </a:r>
                    </a:p>
                  </a:txBody>
                  <a:tcPr marL="8825" marR="8825" marT="88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2</a:t>
                      </a:r>
                    </a:p>
                  </a:txBody>
                  <a:tcPr marL="8825" marR="8825" marT="88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3</a:t>
                      </a:r>
                    </a:p>
                  </a:txBody>
                  <a:tcPr marL="8825" marR="8825" marT="88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1</a:t>
                      </a:r>
                    </a:p>
                  </a:txBody>
                  <a:tcPr marL="8825" marR="8825" marT="88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7</a:t>
                      </a:r>
                    </a:p>
                  </a:txBody>
                  <a:tcPr marL="8825" marR="8825" marT="88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52</a:t>
                      </a:r>
                    </a:p>
                  </a:txBody>
                  <a:tcPr marL="8825" marR="8825" marT="88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22852805"/>
                  </a:ext>
                </a:extLst>
              </a:tr>
              <a:tr h="186374">
                <a:tc>
                  <a:txBody>
                    <a:bodyPr/>
                    <a:lstStyle/>
                    <a:p>
                      <a:pPr algn="l" fontAlgn="b"/>
                      <a:r>
                        <a:rPr lang="cs-CZ" sz="1000" b="1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v procentech</a:t>
                      </a:r>
                    </a:p>
                  </a:txBody>
                  <a:tcPr marL="8825" marR="8825" marT="88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34%</a:t>
                      </a:r>
                    </a:p>
                  </a:txBody>
                  <a:tcPr marL="8825" marR="8825" marT="88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31%</a:t>
                      </a:r>
                    </a:p>
                  </a:txBody>
                  <a:tcPr marL="8825" marR="8825" marT="88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32%</a:t>
                      </a:r>
                    </a:p>
                  </a:txBody>
                  <a:tcPr marL="8825" marR="8825" marT="88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31%</a:t>
                      </a:r>
                    </a:p>
                  </a:txBody>
                  <a:tcPr marL="8825" marR="8825" marT="88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27%</a:t>
                      </a:r>
                    </a:p>
                  </a:txBody>
                  <a:tcPr marL="8825" marR="8825" marT="88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31%</a:t>
                      </a:r>
                    </a:p>
                  </a:txBody>
                  <a:tcPr marL="8825" marR="8825" marT="88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5432975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911266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délník 3"/>
          <p:cNvSpPr/>
          <p:nvPr/>
        </p:nvSpPr>
        <p:spPr>
          <a:xfrm>
            <a:off x="7456700" y="129394"/>
            <a:ext cx="1435780" cy="5238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cs-CZ" dirty="0"/>
          </a:p>
        </p:txBody>
      </p:sp>
      <p:sp>
        <p:nvSpPr>
          <p:cNvPr id="3" name="Zástupný symbol pro číslo snímku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34A8917-ACC8-47BE-963A-793028AE5469}" type="slidenum">
              <a:rPr lang="sv-SE"/>
              <a:pPr>
                <a:defRPr/>
              </a:pPr>
              <a:t>16</a:t>
            </a:fld>
            <a:endParaRPr lang="sv-SE" dirty="0"/>
          </a:p>
        </p:txBody>
      </p:sp>
      <p:grpSp>
        <p:nvGrpSpPr>
          <p:cNvPr id="10" name="Skupina 9"/>
          <p:cNvGrpSpPr/>
          <p:nvPr/>
        </p:nvGrpSpPr>
        <p:grpSpPr>
          <a:xfrm>
            <a:off x="7380312" y="131764"/>
            <a:ext cx="1625590" cy="488924"/>
            <a:chOff x="7380312" y="131764"/>
            <a:chExt cx="1625590" cy="488924"/>
          </a:xfrm>
        </p:grpSpPr>
        <p:sp>
          <p:nvSpPr>
            <p:cNvPr id="11" name="Obdélník 10"/>
            <p:cNvSpPr/>
            <p:nvPr/>
          </p:nvSpPr>
          <p:spPr>
            <a:xfrm>
              <a:off x="7380312" y="131764"/>
              <a:ext cx="1505992" cy="48892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cs-CZ" dirty="0"/>
            </a:p>
          </p:txBody>
        </p:sp>
        <p:pic>
          <p:nvPicPr>
            <p:cNvPr id="12" name="Obrázek 9"/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464284" y="248938"/>
              <a:ext cx="876550" cy="2826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3" name="Obrázek 8"/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460432" y="248938"/>
              <a:ext cx="545470" cy="3717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4" name="Rubrik 4"/>
          <p:cNvSpPr txBox="1">
            <a:spLocks/>
          </p:cNvSpPr>
          <p:nvPr/>
        </p:nvSpPr>
        <p:spPr bwMode="auto">
          <a:xfrm>
            <a:off x="338436" y="434813"/>
            <a:ext cx="7041876" cy="676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rmAutofit fontScale="90000" lnSpcReduction="20000"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fontAlgn="auto">
              <a:spcAft>
                <a:spcPts val="0"/>
              </a:spcAft>
              <a:defRPr/>
            </a:pPr>
            <a:r>
              <a:rPr lang="cs-CZ" kern="0" dirty="0" smtClean="0"/>
              <a:t>Etapa </a:t>
            </a:r>
            <a:r>
              <a:rPr lang="cs-CZ" kern="0" dirty="0"/>
              <a:t>C </a:t>
            </a:r>
            <a:r>
              <a:rPr lang="cs-CZ" kern="0" dirty="0" smtClean="0"/>
              <a:t>– Majetkoprávní vypořádání:</a:t>
            </a:r>
            <a:br>
              <a:rPr lang="cs-CZ" kern="0" dirty="0" smtClean="0"/>
            </a:br>
            <a:endParaRPr lang="en-GB" kern="0" dirty="0"/>
          </a:p>
        </p:txBody>
      </p:sp>
      <p:sp>
        <p:nvSpPr>
          <p:cNvPr id="2" name="Obdélník 1"/>
          <p:cNvSpPr/>
          <p:nvPr/>
        </p:nvSpPr>
        <p:spPr>
          <a:xfrm>
            <a:off x="267135" y="770443"/>
            <a:ext cx="8539161" cy="91563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lvl="0" indent="-285750">
              <a:lnSpc>
                <a:spcPct val="15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cs-CZ" b="1" u="sng" dirty="0" smtClean="0">
                <a:solidFill>
                  <a:srgbClr val="000000"/>
                </a:solidFill>
              </a:rPr>
              <a:t>Dotčení vlastníci:</a:t>
            </a:r>
          </a:p>
          <a:p>
            <a:pPr marL="742950" lvl="1" indent="-285750">
              <a:lnSpc>
                <a:spcPct val="15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cs-CZ" sz="1600" b="1" dirty="0" smtClean="0">
                <a:solidFill>
                  <a:srgbClr val="000000"/>
                </a:solidFill>
              </a:rPr>
              <a:t>Vyjádření vlastníků bylo vyhodnoceno mj. graficky:</a:t>
            </a:r>
          </a:p>
        </p:txBody>
      </p:sp>
      <p:pic>
        <p:nvPicPr>
          <p:cNvPr id="15" name="Obrázek 14"/>
          <p:cNvPicPr/>
          <p:nvPr/>
        </p:nvPicPr>
        <p:blipFill rotWithShape="1">
          <a:blip r:embed="rId4"/>
          <a:srcRect l="3646" t="19933" r="28598" b="16210"/>
          <a:stretch/>
        </p:blipFill>
        <p:spPr bwMode="auto">
          <a:xfrm>
            <a:off x="1115616" y="1660678"/>
            <a:ext cx="6552728" cy="4144586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3795959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délník 3"/>
          <p:cNvSpPr/>
          <p:nvPr/>
        </p:nvSpPr>
        <p:spPr>
          <a:xfrm>
            <a:off x="7456700" y="129394"/>
            <a:ext cx="1435780" cy="5238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cs-CZ" dirty="0"/>
          </a:p>
        </p:txBody>
      </p:sp>
      <p:sp>
        <p:nvSpPr>
          <p:cNvPr id="3" name="Zástupný symbol pro číslo snímku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34A8917-ACC8-47BE-963A-793028AE5469}" type="slidenum">
              <a:rPr lang="sv-SE"/>
              <a:pPr>
                <a:defRPr/>
              </a:pPr>
              <a:t>17</a:t>
            </a:fld>
            <a:endParaRPr lang="sv-SE" dirty="0"/>
          </a:p>
        </p:txBody>
      </p:sp>
      <p:grpSp>
        <p:nvGrpSpPr>
          <p:cNvPr id="10" name="Skupina 9"/>
          <p:cNvGrpSpPr/>
          <p:nvPr/>
        </p:nvGrpSpPr>
        <p:grpSpPr>
          <a:xfrm>
            <a:off x="7380312" y="131764"/>
            <a:ext cx="1625590" cy="488924"/>
            <a:chOff x="7380312" y="131764"/>
            <a:chExt cx="1625590" cy="488924"/>
          </a:xfrm>
        </p:grpSpPr>
        <p:sp>
          <p:nvSpPr>
            <p:cNvPr id="11" name="Obdélník 10"/>
            <p:cNvSpPr/>
            <p:nvPr/>
          </p:nvSpPr>
          <p:spPr>
            <a:xfrm>
              <a:off x="7380312" y="131764"/>
              <a:ext cx="1505992" cy="48892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cs-CZ" dirty="0"/>
            </a:p>
          </p:txBody>
        </p:sp>
        <p:pic>
          <p:nvPicPr>
            <p:cNvPr id="12" name="Obrázek 9"/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464284" y="248938"/>
              <a:ext cx="876550" cy="2826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3" name="Obrázek 8"/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460432" y="248938"/>
              <a:ext cx="545470" cy="3717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4" name="Rubrik 4"/>
          <p:cNvSpPr txBox="1">
            <a:spLocks/>
          </p:cNvSpPr>
          <p:nvPr/>
        </p:nvSpPr>
        <p:spPr bwMode="auto">
          <a:xfrm>
            <a:off x="338436" y="434813"/>
            <a:ext cx="7041876" cy="676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rmAutofit fontScale="90000" lnSpcReduction="20000"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fontAlgn="auto">
              <a:spcAft>
                <a:spcPts val="0"/>
              </a:spcAft>
              <a:defRPr/>
            </a:pPr>
            <a:r>
              <a:rPr lang="cs-CZ" kern="0" dirty="0" smtClean="0"/>
              <a:t>Etapa D </a:t>
            </a:r>
            <a:r>
              <a:rPr lang="cs-CZ" kern="0" dirty="0"/>
              <a:t>-</a:t>
            </a:r>
            <a:r>
              <a:rPr lang="cs-CZ" kern="0" dirty="0" smtClean="0"/>
              <a:t> Vyhodnocení:</a:t>
            </a:r>
            <a:br>
              <a:rPr lang="cs-CZ" kern="0" dirty="0" smtClean="0"/>
            </a:br>
            <a:endParaRPr lang="en-GB" kern="0" dirty="0"/>
          </a:p>
        </p:txBody>
      </p:sp>
      <p:sp>
        <p:nvSpPr>
          <p:cNvPr id="2" name="Obdélník 1"/>
          <p:cNvSpPr/>
          <p:nvPr/>
        </p:nvSpPr>
        <p:spPr>
          <a:xfrm>
            <a:off x="267135" y="770443"/>
            <a:ext cx="8539161" cy="540147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lvl="0" indent="-285750">
              <a:lnSpc>
                <a:spcPct val="15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cs-CZ" b="1" u="sng" dirty="0" smtClean="0">
                <a:solidFill>
                  <a:srgbClr val="000000"/>
                </a:solidFill>
              </a:rPr>
              <a:t>Představení etapy:</a:t>
            </a:r>
          </a:p>
          <a:p>
            <a:pPr marL="742950" lvl="1" indent="-285750">
              <a:lnSpc>
                <a:spcPct val="15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cs-CZ" sz="1600" b="1" dirty="0">
                <a:solidFill>
                  <a:srgbClr val="000000"/>
                </a:solidFill>
              </a:rPr>
              <a:t>Popis korektur výchozího záměru</a:t>
            </a:r>
          </a:p>
          <a:p>
            <a:pPr marL="742950" lvl="1" indent="-285750">
              <a:lnSpc>
                <a:spcPct val="15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cs-CZ" sz="1600" b="1" dirty="0" smtClean="0">
                <a:solidFill>
                  <a:srgbClr val="000000"/>
                </a:solidFill>
              </a:rPr>
              <a:t>Hodnocení územně-technických limitů</a:t>
            </a:r>
          </a:p>
          <a:p>
            <a:pPr marL="742950" lvl="1" indent="-285750">
              <a:lnSpc>
                <a:spcPct val="15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cs-CZ" sz="1600" b="1" dirty="0" smtClean="0">
                <a:solidFill>
                  <a:srgbClr val="000000"/>
                </a:solidFill>
              </a:rPr>
              <a:t>Hodnocení vlivu na </a:t>
            </a:r>
            <a:r>
              <a:rPr lang="cs-CZ" sz="1600" b="1" dirty="0" err="1" smtClean="0">
                <a:solidFill>
                  <a:srgbClr val="000000"/>
                </a:solidFill>
              </a:rPr>
              <a:t>hydromorfologický</a:t>
            </a:r>
            <a:r>
              <a:rPr lang="cs-CZ" sz="1600" b="1" dirty="0" smtClean="0">
                <a:solidFill>
                  <a:srgbClr val="000000"/>
                </a:solidFill>
              </a:rPr>
              <a:t> stav</a:t>
            </a:r>
          </a:p>
          <a:p>
            <a:pPr marL="742950" lvl="1" indent="-285750">
              <a:lnSpc>
                <a:spcPct val="15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cs-CZ" sz="1600" b="1" dirty="0" smtClean="0">
                <a:solidFill>
                  <a:srgbClr val="000000"/>
                </a:solidFill>
              </a:rPr>
              <a:t>Hydrotechnické posouzení návrhového stavu</a:t>
            </a:r>
          </a:p>
          <a:p>
            <a:pPr marL="742950" lvl="1" indent="-285750">
              <a:lnSpc>
                <a:spcPct val="15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cs-CZ" sz="1600" b="1" dirty="0" smtClean="0">
                <a:solidFill>
                  <a:srgbClr val="000000"/>
                </a:solidFill>
              </a:rPr>
              <a:t>Analýza odtokových poměrů vlivem navrhovaných opatření</a:t>
            </a:r>
          </a:p>
          <a:p>
            <a:pPr marL="742950" lvl="1" indent="-285750">
              <a:lnSpc>
                <a:spcPct val="15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cs-CZ" sz="1600" b="1" dirty="0" smtClean="0">
                <a:solidFill>
                  <a:srgbClr val="000000"/>
                </a:solidFill>
              </a:rPr>
              <a:t>Návrh výsledné koncepce</a:t>
            </a:r>
          </a:p>
          <a:p>
            <a:pPr marL="742950" lvl="1" indent="-285750">
              <a:lnSpc>
                <a:spcPct val="15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cs-CZ" sz="1600" b="1" dirty="0" smtClean="0">
                <a:solidFill>
                  <a:srgbClr val="000000"/>
                </a:solidFill>
              </a:rPr>
              <a:t>Vyhodnocení variant a návrh etapizace</a:t>
            </a:r>
          </a:p>
          <a:p>
            <a:pPr marL="742950" lvl="1" indent="-285750">
              <a:lnSpc>
                <a:spcPct val="15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cs-CZ" sz="1600" b="1" dirty="0" smtClean="0">
                <a:solidFill>
                  <a:srgbClr val="000000"/>
                </a:solidFill>
              </a:rPr>
              <a:t>Rozpočet (odhad nákladů)</a:t>
            </a:r>
          </a:p>
          <a:p>
            <a:pPr marL="742950" lvl="1" indent="-285750">
              <a:lnSpc>
                <a:spcPct val="15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endParaRPr lang="cs-CZ" sz="1600" b="1" i="1" dirty="0" smtClean="0">
              <a:solidFill>
                <a:srgbClr val="000000"/>
              </a:solidFill>
            </a:endParaRPr>
          </a:p>
          <a:p>
            <a:pPr marL="742950" lvl="1" indent="-285750">
              <a:lnSpc>
                <a:spcPct val="15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endParaRPr lang="cs-CZ" sz="1600" b="1" dirty="0" smtClean="0">
              <a:solidFill>
                <a:srgbClr val="000000"/>
              </a:solidFill>
            </a:endParaRPr>
          </a:p>
          <a:p>
            <a:pPr marL="742950" lvl="1" indent="-285750">
              <a:lnSpc>
                <a:spcPct val="15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endParaRPr lang="cs-CZ" sz="1600" b="1" dirty="0">
              <a:solidFill>
                <a:srgbClr val="000000"/>
              </a:solidFill>
            </a:endParaRPr>
          </a:p>
          <a:p>
            <a:pPr marL="742950" lvl="1" indent="-285750">
              <a:lnSpc>
                <a:spcPct val="15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endParaRPr lang="cs-CZ" sz="1600" b="1" dirty="0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798451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Výsledek obrázku pro obecnice povodeň 2018">
            <a:hlinkClick r:id="rId3"/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435929" y="914032"/>
            <a:ext cx="5456709" cy="30697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Zástupný symbol pro číslo snímku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E7BBF2C-CD50-49C6-B4A3-5462C1157EA2}" type="slidenum">
              <a:rPr lang="sv-SE"/>
              <a:pPr>
                <a:defRPr/>
              </a:pPr>
              <a:t>18</a:t>
            </a:fld>
            <a:endParaRPr lang="sv-SE" dirty="0"/>
          </a:p>
        </p:txBody>
      </p:sp>
      <p:sp>
        <p:nvSpPr>
          <p:cNvPr id="36867" name="TextovéPole 1"/>
          <p:cNvSpPr txBox="1">
            <a:spLocks noChangeArrowheads="1"/>
          </p:cNvSpPr>
          <p:nvPr/>
        </p:nvSpPr>
        <p:spPr bwMode="auto">
          <a:xfrm>
            <a:off x="392906" y="1949054"/>
            <a:ext cx="8243888" cy="9233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Sweco Sans" charset="-18"/>
              </a:defRPr>
            </a:lvl1pPr>
            <a:lvl2pPr marL="742950" indent="-285750">
              <a:defRPr>
                <a:solidFill>
                  <a:schemeClr val="tx1"/>
                </a:solidFill>
                <a:latin typeface="Sweco Sans" charset="-18"/>
              </a:defRPr>
            </a:lvl2pPr>
            <a:lvl3pPr marL="1143000" indent="-228600">
              <a:defRPr>
                <a:solidFill>
                  <a:schemeClr val="tx1"/>
                </a:solidFill>
                <a:latin typeface="Sweco Sans" charset="-18"/>
              </a:defRPr>
            </a:lvl3pPr>
            <a:lvl4pPr marL="1600200" indent="-228600">
              <a:defRPr>
                <a:solidFill>
                  <a:schemeClr val="tx1"/>
                </a:solidFill>
                <a:latin typeface="Sweco Sans" charset="-18"/>
              </a:defRPr>
            </a:lvl4pPr>
            <a:lvl5pPr marL="2057400" indent="-228600">
              <a:defRPr>
                <a:solidFill>
                  <a:schemeClr val="tx1"/>
                </a:solidFill>
                <a:latin typeface="Sweco Sans" charset="-18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weco Sans" charset="-18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weco Sans" charset="-18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weco Sans" charset="-18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weco Sans" charset="-18"/>
              </a:defRPr>
            </a:lvl9pPr>
          </a:lstStyle>
          <a:p>
            <a:pPr eaLnBrk="1" hangingPunct="1"/>
            <a:endParaRPr lang="cs-CZ" altLang="cs-CZ" b="1"/>
          </a:p>
          <a:p>
            <a:pPr eaLnBrk="1" hangingPunct="1"/>
            <a:endParaRPr lang="cs-CZ" altLang="cs-CZ" b="1"/>
          </a:p>
          <a:p>
            <a:pPr eaLnBrk="1" hangingPunct="1"/>
            <a:endParaRPr lang="cs-CZ" altLang="cs-CZ" b="1"/>
          </a:p>
        </p:txBody>
      </p:sp>
      <p:sp>
        <p:nvSpPr>
          <p:cNvPr id="4" name="Nadpis 3"/>
          <p:cNvSpPr>
            <a:spLocks noGrp="1"/>
          </p:cNvSpPr>
          <p:nvPr>
            <p:ph type="title"/>
          </p:nvPr>
        </p:nvSpPr>
        <p:spPr>
          <a:xfrm>
            <a:off x="414660" y="2204864"/>
            <a:ext cx="3086671" cy="798562"/>
          </a:xfrm>
        </p:spPr>
        <p:txBody>
          <a:bodyPr rtlCol="0">
            <a:normAutofit fontScale="90000"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cs-CZ" dirty="0" smtClean="0"/>
              <a:t>DĚKUJEME </a:t>
            </a:r>
            <a:br>
              <a:rPr lang="cs-CZ" dirty="0" smtClean="0"/>
            </a:br>
            <a:r>
              <a:rPr lang="cs-CZ" dirty="0" smtClean="0"/>
              <a:t>ZA POZORNOST</a:t>
            </a:r>
            <a:endParaRPr lang="cs-CZ" dirty="0"/>
          </a:p>
        </p:txBody>
      </p:sp>
      <p:pic>
        <p:nvPicPr>
          <p:cNvPr id="36869" name="Obrázek 14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695950" y="4552951"/>
            <a:ext cx="932260" cy="2702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20" name="Tabulka 1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48725272"/>
              </p:ext>
            </p:extLst>
          </p:nvPr>
        </p:nvGraphicFramePr>
        <p:xfrm>
          <a:off x="1261467" y="4376738"/>
          <a:ext cx="6506766" cy="1624013"/>
        </p:xfrm>
        <a:graphic>
          <a:graphicData uri="http://schemas.openxmlformats.org/drawingml/2006/table">
            <a:tbl>
              <a:tblPr firstRow="1" firstCol="1" bandRow="1">
                <a:tableStyleId>{69012ECD-51FC-41F1-AA8D-1B2483CD663E}</a:tableStyleId>
              </a:tblPr>
              <a:tblGrid>
                <a:gridCol w="325281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25395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62648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cs-CZ" sz="500" dirty="0">
                          <a:effectLst/>
                        </a:rPr>
                        <a:t> </a:t>
                      </a:r>
                      <a:endParaRPr lang="cs-CZ" sz="800" dirty="0"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53821" marR="0" marT="0" marB="51128" anchor="b">
                    <a:lnL w="6350" cap="flat" cmpd="sng" algn="ctr">
                      <a:noFill/>
                      <a:prstDash val="solid"/>
                      <a:miter lim="800000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cs-CZ" sz="800" dirty="0"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53821" marR="0" marT="0" marB="51128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16711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cs-CZ" sz="1300" b="1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odohospodářský rozvoj a výstavba a.s</a:t>
                      </a:r>
                      <a:r>
                        <a:rPr lang="cs-CZ" sz="1000" b="1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.</a:t>
                      </a:r>
                      <a:endParaRPr lang="cs-CZ" sz="1000" b="1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3821" marR="0" marT="25790" marB="0" anchor="b">
                    <a:lnL w="6350" cap="flat" cmpd="sng" algn="ctr">
                      <a:noFill/>
                      <a:prstDash val="solid"/>
                      <a:miter lim="800000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cs-CZ" sz="1300" b="1" dirty="0" err="1">
                          <a:effectLst/>
                        </a:rPr>
                        <a:t>Sweco</a:t>
                      </a:r>
                      <a:r>
                        <a:rPr lang="cs-CZ" sz="1300" b="1" dirty="0">
                          <a:effectLst/>
                        </a:rPr>
                        <a:t> </a:t>
                      </a:r>
                      <a:r>
                        <a:rPr lang="cs-CZ" sz="1300" b="1" dirty="0" err="1" smtClean="0">
                          <a:effectLst/>
                        </a:rPr>
                        <a:t>Hydroprojekt</a:t>
                      </a:r>
                      <a:r>
                        <a:rPr lang="cs-CZ" sz="1300" b="1" dirty="0" smtClean="0">
                          <a:effectLst/>
                        </a:rPr>
                        <a:t> </a:t>
                      </a:r>
                      <a:r>
                        <a:rPr lang="cs-CZ" sz="1300" b="1" dirty="0">
                          <a:effectLst/>
                        </a:rPr>
                        <a:t>a.s.</a:t>
                      </a:r>
                      <a:endParaRPr lang="cs-CZ" sz="1300" b="1" dirty="0"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53821" marR="0" marT="2579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44654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cs-CZ" sz="800" b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ábřežní 4, 150 56 Praha 5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cs-CZ" sz="800" b="0" dirty="0" smtClean="0">
                          <a:effectLst/>
                        </a:rPr>
                        <a:t>www. vrv.cz</a:t>
                      </a:r>
                      <a:endParaRPr lang="cs-CZ" sz="800" b="0" dirty="0">
                        <a:effectLst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cs-CZ" sz="500" dirty="0">
                          <a:effectLst/>
                        </a:rPr>
                        <a:t> </a:t>
                      </a:r>
                      <a:endParaRPr lang="cs-CZ" sz="800" dirty="0">
                        <a:effectLst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cs-CZ" sz="500" dirty="0">
                          <a:effectLst/>
                        </a:rPr>
                        <a:t> </a:t>
                      </a:r>
                      <a:endParaRPr lang="cs-CZ" sz="800" dirty="0"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53821" marR="0" marT="0" marB="0" anchor="ctr">
                    <a:lnL w="6350" cap="flat" cmpd="sng" algn="ctr">
                      <a:noFill/>
                      <a:prstDash val="solid"/>
                      <a:miter lim="800000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cs-CZ" sz="800" dirty="0">
                          <a:effectLst/>
                        </a:rPr>
                        <a:t>Ústředí Praha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cs-CZ" sz="800" dirty="0">
                          <a:effectLst/>
                        </a:rPr>
                        <a:t>Táborská 31, Praha 4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cs-CZ" sz="800" dirty="0">
                          <a:effectLst/>
                        </a:rPr>
                        <a:t>www.sweco.cz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cs-CZ" sz="800" dirty="0">
                          <a:effectLst/>
                        </a:rPr>
                        <a:t> 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cs-CZ" sz="500" dirty="0">
                          <a:effectLst/>
                        </a:rPr>
                        <a:t> </a:t>
                      </a:r>
                      <a:endParaRPr lang="cs-CZ" sz="800" dirty="0"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53821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pic>
        <p:nvPicPr>
          <p:cNvPr id="36877" name="Obrázek 20"/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744391" y="4470797"/>
            <a:ext cx="540544" cy="352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9" name="Skupina 8"/>
          <p:cNvGrpSpPr/>
          <p:nvPr/>
        </p:nvGrpSpPr>
        <p:grpSpPr>
          <a:xfrm>
            <a:off x="7380312" y="131764"/>
            <a:ext cx="1625590" cy="488924"/>
            <a:chOff x="7380312" y="131764"/>
            <a:chExt cx="1625590" cy="488924"/>
          </a:xfrm>
        </p:grpSpPr>
        <p:sp>
          <p:nvSpPr>
            <p:cNvPr id="10" name="Obdélník 9"/>
            <p:cNvSpPr/>
            <p:nvPr/>
          </p:nvSpPr>
          <p:spPr>
            <a:xfrm>
              <a:off x="7380312" y="131764"/>
              <a:ext cx="1505992" cy="48892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cs-CZ" dirty="0"/>
            </a:p>
          </p:txBody>
        </p:sp>
        <p:pic>
          <p:nvPicPr>
            <p:cNvPr id="11" name="Obrázek 9"/>
            <p:cNvPicPr>
              <a:picLocks noChangeAspect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464284" y="248938"/>
              <a:ext cx="876550" cy="2826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2" name="Obrázek 8"/>
            <p:cNvPicPr>
              <a:picLocks noChangeAspect="1"/>
            </p:cNvPicPr>
            <p:nvPr/>
          </p:nvPicPr>
          <p:blipFill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460432" y="248938"/>
              <a:ext cx="545470" cy="3717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4" name="Obdélník 13"/>
          <p:cNvSpPr/>
          <p:nvPr/>
        </p:nvSpPr>
        <p:spPr>
          <a:xfrm>
            <a:off x="7173449" y="3629580"/>
            <a:ext cx="1606153" cy="276999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algn="just">
              <a:spcAft>
                <a:spcPts val="200"/>
              </a:spcAft>
            </a:pPr>
            <a:r>
              <a:rPr lang="cs-CZ" sz="1200" i="1" cap="all" dirty="0" smtClean="0">
                <a:solidFill>
                  <a:srgbClr val="000000"/>
                </a:solidFill>
                <a:latin typeface="Sweco Sans" charset="-18"/>
              </a:rPr>
              <a:t>Obecnice 05/2018</a:t>
            </a:r>
            <a:endParaRPr lang="cs-CZ" sz="1200" i="1" dirty="0">
              <a:solidFill>
                <a:srgbClr val="000000"/>
              </a:solidFill>
              <a:latin typeface="Sweco Sans" charset="-18"/>
            </a:endParaRPr>
          </a:p>
        </p:txBody>
      </p:sp>
    </p:spTree>
    <p:extLst>
      <p:ext uri="{BB962C8B-B14F-4D97-AF65-F5344CB8AC3E}">
        <p14:creationId xmlns:p14="http://schemas.microsoft.com/office/powerpoint/2010/main" val="26392950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délník 3"/>
          <p:cNvSpPr/>
          <p:nvPr/>
        </p:nvSpPr>
        <p:spPr>
          <a:xfrm>
            <a:off x="7456700" y="129394"/>
            <a:ext cx="1435780" cy="5238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cs-CZ" dirty="0"/>
          </a:p>
        </p:txBody>
      </p:sp>
      <p:sp>
        <p:nvSpPr>
          <p:cNvPr id="3" name="Zástupný symbol pro číslo snímku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34A8917-ACC8-47BE-963A-793028AE5469}" type="slidenum">
              <a:rPr lang="sv-SE"/>
              <a:pPr>
                <a:defRPr/>
              </a:pPr>
              <a:t>2</a:t>
            </a:fld>
            <a:endParaRPr lang="sv-SE" dirty="0"/>
          </a:p>
        </p:txBody>
      </p:sp>
      <p:sp>
        <p:nvSpPr>
          <p:cNvPr id="19461" name="TextovéPole 1"/>
          <p:cNvSpPr txBox="1">
            <a:spLocks noChangeArrowheads="1"/>
          </p:cNvSpPr>
          <p:nvPr/>
        </p:nvSpPr>
        <p:spPr bwMode="auto">
          <a:xfrm>
            <a:off x="271884" y="989906"/>
            <a:ext cx="8243888" cy="18184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Sweco Sans" charset="-18"/>
              </a:defRPr>
            </a:lvl1pPr>
            <a:lvl2pPr marL="742950" indent="-285750">
              <a:defRPr>
                <a:solidFill>
                  <a:schemeClr val="tx1"/>
                </a:solidFill>
                <a:latin typeface="Sweco Sans" charset="-18"/>
              </a:defRPr>
            </a:lvl2pPr>
            <a:lvl3pPr marL="1143000" indent="-228600">
              <a:defRPr>
                <a:solidFill>
                  <a:schemeClr val="tx1"/>
                </a:solidFill>
                <a:latin typeface="Sweco Sans" charset="-18"/>
              </a:defRPr>
            </a:lvl3pPr>
            <a:lvl4pPr marL="1600200" indent="-228600">
              <a:defRPr>
                <a:solidFill>
                  <a:schemeClr val="tx1"/>
                </a:solidFill>
                <a:latin typeface="Sweco Sans" charset="-18"/>
              </a:defRPr>
            </a:lvl4pPr>
            <a:lvl5pPr marL="2057400" indent="-228600">
              <a:defRPr>
                <a:solidFill>
                  <a:schemeClr val="tx1"/>
                </a:solidFill>
                <a:latin typeface="Sweco Sans" charset="-18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weco Sans" charset="-18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weco Sans" charset="-18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weco Sans" charset="-18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weco Sans" charset="-18"/>
              </a:defRPr>
            </a:lvl9pPr>
          </a:lstStyle>
          <a:p>
            <a:pPr eaLnBrk="1" hangingPunct="1"/>
            <a:r>
              <a:rPr lang="cs-CZ" altLang="cs-CZ" dirty="0"/>
              <a:t>Objednatel studie: </a:t>
            </a:r>
            <a:r>
              <a:rPr lang="cs-CZ" altLang="cs-CZ" dirty="0" smtClean="0"/>
              <a:t>	</a:t>
            </a:r>
            <a:r>
              <a:rPr lang="cs-CZ" b="1" dirty="0" smtClean="0">
                <a:solidFill>
                  <a:srgbClr val="000000"/>
                </a:solidFill>
              </a:rPr>
              <a:t>Středočeský kraj</a:t>
            </a:r>
            <a:endParaRPr lang="cs-CZ" altLang="cs-CZ" dirty="0">
              <a:solidFill>
                <a:srgbClr val="000000"/>
              </a:solidFill>
            </a:endParaRPr>
          </a:p>
          <a:p>
            <a:pPr eaLnBrk="1" hangingPunct="1"/>
            <a:endParaRPr lang="cs-CZ" altLang="cs-CZ" dirty="0" smtClean="0"/>
          </a:p>
          <a:p>
            <a:pPr eaLnBrk="1" hangingPunct="1"/>
            <a:r>
              <a:rPr lang="cs-CZ" altLang="cs-CZ" dirty="0" smtClean="0"/>
              <a:t>Zpracovatel studie: </a:t>
            </a:r>
            <a:r>
              <a:rPr lang="cs-CZ" altLang="cs-CZ" b="1" dirty="0" smtClean="0"/>
              <a:t> 	</a:t>
            </a:r>
            <a:r>
              <a:rPr lang="cs-CZ" altLang="cs-CZ" b="1" dirty="0" smtClean="0">
                <a:solidFill>
                  <a:srgbClr val="000000"/>
                </a:solidFill>
              </a:rPr>
              <a:t>Společnost </a:t>
            </a:r>
            <a:r>
              <a:rPr lang="cs-CZ" altLang="cs-CZ" b="1" dirty="0">
                <a:solidFill>
                  <a:srgbClr val="000000"/>
                </a:solidFill>
              </a:rPr>
              <a:t>„SHDP + </a:t>
            </a:r>
            <a:r>
              <a:rPr lang="cs-CZ" altLang="cs-CZ" b="1" dirty="0" smtClean="0">
                <a:solidFill>
                  <a:srgbClr val="000000"/>
                </a:solidFill>
              </a:rPr>
              <a:t>VRV“</a:t>
            </a:r>
            <a:endParaRPr lang="cs-CZ" altLang="cs-CZ" b="1" dirty="0">
              <a:solidFill>
                <a:srgbClr val="000000"/>
              </a:solidFill>
            </a:endParaRPr>
          </a:p>
          <a:p>
            <a:pPr eaLnBrk="1" hangingPunct="1"/>
            <a:endParaRPr lang="cs-CZ" altLang="cs-CZ" dirty="0"/>
          </a:p>
          <a:p>
            <a:pPr eaLnBrk="1" hangingPunct="1"/>
            <a:r>
              <a:rPr lang="cs-CZ" altLang="cs-CZ" dirty="0"/>
              <a:t>Zahájení prací na studii: </a:t>
            </a:r>
            <a:r>
              <a:rPr lang="cs-CZ" altLang="cs-CZ" dirty="0" smtClean="0"/>
              <a:t>	</a:t>
            </a:r>
            <a:r>
              <a:rPr lang="cs-CZ" altLang="cs-CZ" b="1" dirty="0" smtClean="0">
                <a:solidFill>
                  <a:srgbClr val="000000"/>
                </a:solidFill>
              </a:rPr>
              <a:t>04/2018</a:t>
            </a:r>
            <a:endParaRPr lang="cs-CZ" altLang="cs-CZ" sz="1500" b="1" dirty="0">
              <a:solidFill>
                <a:srgbClr val="000000"/>
              </a:solidFill>
            </a:endParaRPr>
          </a:p>
          <a:p>
            <a:pPr algn="just">
              <a:spcBef>
                <a:spcPts val="450"/>
              </a:spcBef>
              <a:spcAft>
                <a:spcPts val="450"/>
              </a:spcAft>
            </a:pPr>
            <a:endParaRPr lang="cs-CZ" altLang="cs-CZ" b="1" dirty="0"/>
          </a:p>
        </p:txBody>
      </p:sp>
      <p:pic>
        <p:nvPicPr>
          <p:cNvPr id="19463" name="Obrázek 8"/>
          <p:cNvPicPr>
            <a:picLocks noChangeAspect="1"/>
          </p:cNvPicPr>
          <p:nvPr/>
        </p:nvPicPr>
        <p:blipFill>
          <a:blip r:embed="rId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974806" y="1592758"/>
            <a:ext cx="540544" cy="352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465" name="Obrázek 9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914777" y="1586061"/>
            <a:ext cx="931069" cy="2702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0" name="Skupina 9"/>
          <p:cNvGrpSpPr/>
          <p:nvPr/>
        </p:nvGrpSpPr>
        <p:grpSpPr>
          <a:xfrm>
            <a:off x="7380312" y="131764"/>
            <a:ext cx="1625590" cy="488924"/>
            <a:chOff x="7380312" y="131764"/>
            <a:chExt cx="1625590" cy="488924"/>
          </a:xfrm>
        </p:grpSpPr>
        <p:sp>
          <p:nvSpPr>
            <p:cNvPr id="11" name="Obdélník 10"/>
            <p:cNvSpPr/>
            <p:nvPr/>
          </p:nvSpPr>
          <p:spPr>
            <a:xfrm>
              <a:off x="7380312" y="131764"/>
              <a:ext cx="1505992" cy="48892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cs-CZ" dirty="0"/>
            </a:p>
          </p:txBody>
        </p:sp>
        <p:pic>
          <p:nvPicPr>
            <p:cNvPr id="12" name="Obrázek 9"/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464284" y="248938"/>
              <a:ext cx="876550" cy="2826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3" name="Obrázek 8"/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460432" y="248938"/>
              <a:ext cx="545470" cy="3717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4" name="Rubrik 4"/>
          <p:cNvSpPr txBox="1">
            <a:spLocks/>
          </p:cNvSpPr>
          <p:nvPr/>
        </p:nvSpPr>
        <p:spPr bwMode="auto">
          <a:xfrm>
            <a:off x="338436" y="434813"/>
            <a:ext cx="5237560" cy="676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rmAutofit fontScale="90000" lnSpcReduction="20000"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fontAlgn="auto">
              <a:spcAft>
                <a:spcPts val="0"/>
              </a:spcAft>
              <a:defRPr/>
            </a:pPr>
            <a:r>
              <a:rPr lang="cs-CZ" kern="0" dirty="0" smtClean="0"/>
              <a:t>Základní informace o projektu:</a:t>
            </a:r>
            <a:br>
              <a:rPr lang="cs-CZ" kern="0" dirty="0" smtClean="0"/>
            </a:br>
            <a:endParaRPr lang="en-GB" kern="0" dirty="0"/>
          </a:p>
        </p:txBody>
      </p:sp>
      <p:sp>
        <p:nvSpPr>
          <p:cNvPr id="5" name="Obdélník 4"/>
          <p:cNvSpPr/>
          <p:nvPr/>
        </p:nvSpPr>
        <p:spPr>
          <a:xfrm>
            <a:off x="255835" y="3140968"/>
            <a:ext cx="8547868" cy="25853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cs-CZ" b="1" u="sng" dirty="0" smtClean="0">
                <a:solidFill>
                  <a:srgbClr val="000000"/>
                </a:solidFill>
                <a:latin typeface="Sweco Sans" charset="-18"/>
              </a:rPr>
              <a:t>OPŽP – podporované oblasti</a:t>
            </a:r>
          </a:p>
          <a:p>
            <a:pPr lvl="0"/>
            <a:r>
              <a:rPr lang="cs-CZ" b="1" dirty="0" smtClean="0">
                <a:solidFill>
                  <a:srgbClr val="000000"/>
                </a:solidFill>
                <a:latin typeface="Sweco Sans" charset="-18"/>
              </a:rPr>
              <a:t>Prioritní osa 1 (čistota vody) </a:t>
            </a:r>
          </a:p>
          <a:p>
            <a:pPr lvl="0"/>
            <a:r>
              <a:rPr lang="cs-CZ" b="1" dirty="0" smtClean="0">
                <a:solidFill>
                  <a:srgbClr val="000000"/>
                </a:solidFill>
                <a:latin typeface="Sweco Sans" charset="-18"/>
              </a:rPr>
              <a:t>– Zlepšování kvality vod a snižování rizika povodní</a:t>
            </a:r>
          </a:p>
          <a:p>
            <a:pPr lvl="0"/>
            <a:endParaRPr lang="cs-CZ" b="1" dirty="0" smtClean="0">
              <a:solidFill>
                <a:srgbClr val="000000"/>
              </a:solidFill>
              <a:latin typeface="Sweco Sans" charset="-18"/>
            </a:endParaRPr>
          </a:p>
          <a:p>
            <a:pPr lvl="0"/>
            <a:r>
              <a:rPr lang="cs-CZ" b="1" dirty="0" smtClean="0">
                <a:solidFill>
                  <a:srgbClr val="000000"/>
                </a:solidFill>
                <a:latin typeface="Sweco Sans" charset="-18"/>
              </a:rPr>
              <a:t>Cíl dílčí oblasti 1.4 – podpořit preventivní protipovodňová opatření:</a:t>
            </a:r>
          </a:p>
          <a:p>
            <a:pPr lvl="0" algn="just"/>
            <a:r>
              <a:rPr lang="cs-CZ" dirty="0" smtClean="0"/>
              <a:t>Studie </a:t>
            </a:r>
            <a:r>
              <a:rPr lang="cs-CZ" dirty="0"/>
              <a:t>odtokových poměrů včetně návrhů možných protipovodňových opatření v oblastech s potenciálním povodňovým </a:t>
            </a:r>
            <a:r>
              <a:rPr lang="cs-CZ" dirty="0" smtClean="0"/>
              <a:t>rizikem, </a:t>
            </a:r>
            <a:r>
              <a:rPr lang="cs-CZ" dirty="0"/>
              <a:t>jako podklad pro následnou realizaci vybraných protipovodňových opatření včetně přírodě blízkých protipovodňových opatření.</a:t>
            </a:r>
            <a:endParaRPr lang="cs-CZ" b="1" dirty="0">
              <a:solidFill>
                <a:srgbClr val="000000"/>
              </a:solidFill>
              <a:latin typeface="Sweco Sans" charset="-18"/>
            </a:endParaRPr>
          </a:p>
        </p:txBody>
      </p:sp>
      <p:pic>
        <p:nvPicPr>
          <p:cNvPr id="16" name="Obrázek 15"/>
          <p:cNvPicPr/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15493" y="943294"/>
            <a:ext cx="2188210" cy="427990"/>
          </a:xfrm>
          <a:prstGeom prst="rect">
            <a:avLst/>
          </a:prstGeom>
        </p:spPr>
      </p:pic>
      <p:pic>
        <p:nvPicPr>
          <p:cNvPr id="21" name="Picture 2" descr="Z:\PROJEKTY\2018_SOP_v_povodi_Berounky\02_Podklady\01_loga\Logo OPŽP\Banner OPZP_Fond soudrznosti\JPG\CZ_RO_B_C.jp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485409" y="3140968"/>
            <a:ext cx="2407071" cy="7523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421289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délník 3"/>
          <p:cNvSpPr/>
          <p:nvPr/>
        </p:nvSpPr>
        <p:spPr>
          <a:xfrm>
            <a:off x="7456700" y="129394"/>
            <a:ext cx="1435780" cy="5238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cs-CZ" dirty="0"/>
          </a:p>
        </p:txBody>
      </p:sp>
      <p:sp>
        <p:nvSpPr>
          <p:cNvPr id="3" name="Zástupný symbol pro číslo snímku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34A8917-ACC8-47BE-963A-793028AE5469}" type="slidenum">
              <a:rPr lang="sv-SE"/>
              <a:pPr>
                <a:defRPr/>
              </a:pPr>
              <a:t>3</a:t>
            </a:fld>
            <a:endParaRPr lang="sv-SE" dirty="0"/>
          </a:p>
        </p:txBody>
      </p:sp>
      <p:grpSp>
        <p:nvGrpSpPr>
          <p:cNvPr id="10" name="Skupina 9"/>
          <p:cNvGrpSpPr/>
          <p:nvPr/>
        </p:nvGrpSpPr>
        <p:grpSpPr>
          <a:xfrm>
            <a:off x="7380312" y="131764"/>
            <a:ext cx="1625590" cy="488924"/>
            <a:chOff x="7380312" y="131764"/>
            <a:chExt cx="1625590" cy="488924"/>
          </a:xfrm>
        </p:grpSpPr>
        <p:sp>
          <p:nvSpPr>
            <p:cNvPr id="11" name="Obdélník 10"/>
            <p:cNvSpPr/>
            <p:nvPr/>
          </p:nvSpPr>
          <p:spPr>
            <a:xfrm>
              <a:off x="7380312" y="131764"/>
              <a:ext cx="1505992" cy="48892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cs-CZ" dirty="0"/>
            </a:p>
          </p:txBody>
        </p:sp>
        <p:pic>
          <p:nvPicPr>
            <p:cNvPr id="12" name="Obrázek 9"/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464284" y="248938"/>
              <a:ext cx="876550" cy="2826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3" name="Obrázek 8"/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460432" y="248938"/>
              <a:ext cx="545470" cy="3717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4" name="Rubrik 4"/>
          <p:cNvSpPr txBox="1">
            <a:spLocks/>
          </p:cNvSpPr>
          <p:nvPr/>
        </p:nvSpPr>
        <p:spPr bwMode="auto">
          <a:xfrm>
            <a:off x="338436" y="434813"/>
            <a:ext cx="7041876" cy="676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rmAutofit fontScale="90000" lnSpcReduction="20000"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fontAlgn="auto">
              <a:spcAft>
                <a:spcPts val="0"/>
              </a:spcAft>
              <a:defRPr/>
            </a:pPr>
            <a:r>
              <a:rPr lang="cs-CZ" kern="0" dirty="0" smtClean="0"/>
              <a:t>Obsah prezentace :</a:t>
            </a:r>
            <a:br>
              <a:rPr lang="cs-CZ" kern="0" dirty="0" smtClean="0"/>
            </a:br>
            <a:endParaRPr lang="en-GB" kern="0" dirty="0"/>
          </a:p>
        </p:txBody>
      </p:sp>
      <p:sp>
        <p:nvSpPr>
          <p:cNvPr id="2" name="Obdélník 1"/>
          <p:cNvSpPr/>
          <p:nvPr/>
        </p:nvSpPr>
        <p:spPr>
          <a:xfrm>
            <a:off x="353318" y="980728"/>
            <a:ext cx="8539161" cy="232371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lvl="0" indent="-285750">
              <a:lnSpc>
                <a:spcPct val="15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cs-CZ" b="1" u="sng" dirty="0" smtClean="0">
                <a:solidFill>
                  <a:srgbClr val="000000"/>
                </a:solidFill>
              </a:rPr>
              <a:t>Etapa C</a:t>
            </a:r>
          </a:p>
          <a:p>
            <a:pPr marL="742950" lvl="1" indent="-285750">
              <a:lnSpc>
                <a:spcPct val="15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cs-CZ" b="1" dirty="0" smtClean="0">
                <a:solidFill>
                  <a:srgbClr val="000000"/>
                </a:solidFill>
              </a:rPr>
              <a:t>Shrnutí a závěry z etapy C - Majetkoprávní vypořádání</a:t>
            </a:r>
          </a:p>
          <a:p>
            <a:pPr marL="285750" lvl="0" indent="-285750">
              <a:lnSpc>
                <a:spcPct val="15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cs-CZ" b="1" u="sng" dirty="0">
                <a:solidFill>
                  <a:srgbClr val="000000"/>
                </a:solidFill>
              </a:rPr>
              <a:t>Etapa </a:t>
            </a:r>
            <a:r>
              <a:rPr lang="cs-CZ" b="1" u="sng" dirty="0" smtClean="0">
                <a:solidFill>
                  <a:srgbClr val="000000"/>
                </a:solidFill>
              </a:rPr>
              <a:t>D</a:t>
            </a:r>
            <a:endParaRPr lang="cs-CZ" b="1" u="sng" dirty="0">
              <a:solidFill>
                <a:srgbClr val="000000"/>
              </a:solidFill>
            </a:endParaRPr>
          </a:p>
          <a:p>
            <a:pPr marL="742950" lvl="1" indent="-285750">
              <a:lnSpc>
                <a:spcPct val="15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cs-CZ" b="1" dirty="0" smtClean="0">
                <a:solidFill>
                  <a:srgbClr val="000000"/>
                </a:solidFill>
              </a:rPr>
              <a:t>Představení etapy D - Vyhodnocení</a:t>
            </a:r>
            <a:endParaRPr lang="cs-CZ" b="1" dirty="0">
              <a:solidFill>
                <a:srgbClr val="000000"/>
              </a:solidFill>
            </a:endParaRPr>
          </a:p>
          <a:p>
            <a:pPr lvl="1">
              <a:lnSpc>
                <a:spcPct val="150000"/>
              </a:lnSpc>
              <a:spcAft>
                <a:spcPts val="300"/>
              </a:spcAft>
            </a:pPr>
            <a:endParaRPr lang="cs-CZ" b="1" dirty="0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438779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délník 3"/>
          <p:cNvSpPr/>
          <p:nvPr/>
        </p:nvSpPr>
        <p:spPr>
          <a:xfrm>
            <a:off x="7456700" y="129394"/>
            <a:ext cx="1435780" cy="5238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cs-CZ" dirty="0"/>
          </a:p>
        </p:txBody>
      </p:sp>
      <p:sp>
        <p:nvSpPr>
          <p:cNvPr id="3" name="Zástupný symbol pro číslo snímku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34A8917-ACC8-47BE-963A-793028AE5469}" type="slidenum">
              <a:rPr lang="sv-SE"/>
              <a:pPr>
                <a:defRPr/>
              </a:pPr>
              <a:t>4</a:t>
            </a:fld>
            <a:endParaRPr lang="sv-SE" dirty="0"/>
          </a:p>
        </p:txBody>
      </p:sp>
      <p:grpSp>
        <p:nvGrpSpPr>
          <p:cNvPr id="10" name="Skupina 9"/>
          <p:cNvGrpSpPr/>
          <p:nvPr/>
        </p:nvGrpSpPr>
        <p:grpSpPr>
          <a:xfrm>
            <a:off x="7380312" y="131764"/>
            <a:ext cx="1625590" cy="488924"/>
            <a:chOff x="7380312" y="131764"/>
            <a:chExt cx="1625590" cy="488924"/>
          </a:xfrm>
        </p:grpSpPr>
        <p:sp>
          <p:nvSpPr>
            <p:cNvPr id="11" name="Obdélník 10"/>
            <p:cNvSpPr/>
            <p:nvPr/>
          </p:nvSpPr>
          <p:spPr>
            <a:xfrm>
              <a:off x="7380312" y="131764"/>
              <a:ext cx="1505992" cy="48892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cs-CZ" dirty="0"/>
            </a:p>
          </p:txBody>
        </p:sp>
        <p:pic>
          <p:nvPicPr>
            <p:cNvPr id="12" name="Obrázek 9"/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464284" y="248938"/>
              <a:ext cx="876550" cy="2826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3" name="Obrázek 8"/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460432" y="248938"/>
              <a:ext cx="545470" cy="3717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4" name="Rubrik 4"/>
          <p:cNvSpPr txBox="1">
            <a:spLocks/>
          </p:cNvSpPr>
          <p:nvPr/>
        </p:nvSpPr>
        <p:spPr bwMode="auto">
          <a:xfrm>
            <a:off x="338436" y="434813"/>
            <a:ext cx="7041876" cy="676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rmAutofit fontScale="90000" lnSpcReduction="20000"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fontAlgn="auto">
              <a:spcAft>
                <a:spcPts val="0"/>
              </a:spcAft>
              <a:defRPr/>
            </a:pPr>
            <a:r>
              <a:rPr lang="cs-CZ" kern="0" dirty="0" smtClean="0"/>
              <a:t>Etapa </a:t>
            </a:r>
            <a:r>
              <a:rPr lang="cs-CZ" kern="0" dirty="0"/>
              <a:t>C </a:t>
            </a:r>
            <a:r>
              <a:rPr lang="cs-CZ" kern="0" dirty="0" smtClean="0"/>
              <a:t>– Majetkoprávní vypořádání:</a:t>
            </a:r>
            <a:br>
              <a:rPr lang="cs-CZ" kern="0" dirty="0" smtClean="0"/>
            </a:br>
            <a:endParaRPr lang="en-GB" kern="0" dirty="0"/>
          </a:p>
        </p:txBody>
      </p:sp>
      <p:sp>
        <p:nvSpPr>
          <p:cNvPr id="2" name="Obdélník 1"/>
          <p:cNvSpPr/>
          <p:nvPr/>
        </p:nvSpPr>
        <p:spPr>
          <a:xfrm>
            <a:off x="267135" y="770443"/>
            <a:ext cx="8539161" cy="62170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lvl="0" indent="-285750">
              <a:lnSpc>
                <a:spcPct val="15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cs-CZ" b="1" u="sng" dirty="0" smtClean="0">
                <a:solidFill>
                  <a:srgbClr val="000000"/>
                </a:solidFill>
              </a:rPr>
              <a:t>Shrnutí a závěry z projednání:</a:t>
            </a:r>
          </a:p>
          <a:p>
            <a:pPr marL="742950" lvl="1" indent="-285750">
              <a:lnSpc>
                <a:spcPct val="15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cs-CZ" sz="1600" b="1" dirty="0">
                <a:solidFill>
                  <a:srgbClr val="000000"/>
                </a:solidFill>
              </a:rPr>
              <a:t>Středočeský </a:t>
            </a:r>
            <a:r>
              <a:rPr lang="cs-CZ" sz="1600" b="1" dirty="0" smtClean="0">
                <a:solidFill>
                  <a:srgbClr val="000000"/>
                </a:solidFill>
              </a:rPr>
              <a:t>kraj, Odbor živ. prostředí a zemědělství</a:t>
            </a:r>
            <a:endParaRPr lang="cs-CZ" sz="1600" b="1" dirty="0">
              <a:solidFill>
                <a:srgbClr val="000000"/>
              </a:solidFill>
            </a:endParaRPr>
          </a:p>
          <a:p>
            <a:pPr marL="742950" lvl="1" indent="-285750">
              <a:lnSpc>
                <a:spcPct val="15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cs-CZ" sz="1600" b="1" dirty="0">
                <a:solidFill>
                  <a:srgbClr val="000000"/>
                </a:solidFill>
              </a:rPr>
              <a:t>Povodí Vltavy, státní podnik</a:t>
            </a:r>
          </a:p>
          <a:p>
            <a:pPr marL="742950" lvl="1" indent="-285750">
              <a:lnSpc>
                <a:spcPct val="15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cs-CZ" sz="1600" b="1" dirty="0">
                <a:solidFill>
                  <a:srgbClr val="000000"/>
                </a:solidFill>
              </a:rPr>
              <a:t>Lesy České republiky, státní podnik</a:t>
            </a:r>
          </a:p>
          <a:p>
            <a:pPr marL="742950" lvl="1" indent="-285750">
              <a:lnSpc>
                <a:spcPct val="15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cs-CZ" sz="1600" b="1" dirty="0">
                <a:solidFill>
                  <a:srgbClr val="000000"/>
                </a:solidFill>
              </a:rPr>
              <a:t>Agentura ochrany přírody a krajiny ČR</a:t>
            </a:r>
          </a:p>
          <a:p>
            <a:pPr marL="742950" lvl="1" indent="-285750">
              <a:lnSpc>
                <a:spcPct val="15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cs-CZ" sz="1600" b="1" dirty="0">
                <a:solidFill>
                  <a:srgbClr val="000000"/>
                </a:solidFill>
              </a:rPr>
              <a:t>Státní pozemkový úřad</a:t>
            </a:r>
          </a:p>
          <a:p>
            <a:pPr marL="742950" lvl="1" indent="-285750">
              <a:lnSpc>
                <a:spcPct val="15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cs-CZ" sz="1600" b="1" dirty="0">
                <a:solidFill>
                  <a:srgbClr val="000000"/>
                </a:solidFill>
              </a:rPr>
              <a:t>Obce s rozšířenou působností (ORP)</a:t>
            </a:r>
          </a:p>
          <a:p>
            <a:pPr marL="742950" lvl="1" indent="-285750">
              <a:lnSpc>
                <a:spcPct val="15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cs-CZ" sz="1600" b="1" dirty="0">
                <a:solidFill>
                  <a:srgbClr val="000000"/>
                </a:solidFill>
              </a:rPr>
              <a:t>Dotčené obce</a:t>
            </a:r>
          </a:p>
          <a:p>
            <a:pPr marL="742950" lvl="1" indent="-285750">
              <a:lnSpc>
                <a:spcPct val="15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cs-CZ" sz="1600" b="1" dirty="0">
                <a:solidFill>
                  <a:srgbClr val="000000"/>
                </a:solidFill>
              </a:rPr>
              <a:t>Dotčení vlastníci pozemků</a:t>
            </a:r>
          </a:p>
          <a:p>
            <a:pPr marL="742950" lvl="1" indent="-285750">
              <a:lnSpc>
                <a:spcPct val="15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cs-CZ" sz="1600" b="1" dirty="0">
                <a:solidFill>
                  <a:srgbClr val="000000"/>
                </a:solidFill>
              </a:rPr>
              <a:t>Dotčení uživatelé pozemků</a:t>
            </a:r>
          </a:p>
          <a:p>
            <a:pPr marL="742950" lvl="1" indent="-285750">
              <a:lnSpc>
                <a:spcPct val="15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endParaRPr lang="cs-CZ" sz="1600" b="1" dirty="0" smtClean="0">
              <a:solidFill>
                <a:srgbClr val="000000"/>
              </a:solidFill>
            </a:endParaRPr>
          </a:p>
          <a:p>
            <a:pPr marL="742950" lvl="1" indent="-285750">
              <a:lnSpc>
                <a:spcPct val="15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endParaRPr lang="cs-CZ" sz="1600" b="1" i="1" dirty="0" smtClean="0">
              <a:solidFill>
                <a:srgbClr val="000000"/>
              </a:solidFill>
            </a:endParaRPr>
          </a:p>
          <a:p>
            <a:pPr marL="742950" lvl="1" indent="-285750">
              <a:lnSpc>
                <a:spcPct val="15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endParaRPr lang="cs-CZ" sz="1600" b="1" dirty="0" smtClean="0">
              <a:solidFill>
                <a:srgbClr val="000000"/>
              </a:solidFill>
            </a:endParaRPr>
          </a:p>
          <a:p>
            <a:pPr marL="742950" lvl="1" indent="-285750">
              <a:lnSpc>
                <a:spcPct val="15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endParaRPr lang="cs-CZ" sz="1600" b="1" dirty="0">
              <a:solidFill>
                <a:srgbClr val="000000"/>
              </a:solidFill>
            </a:endParaRPr>
          </a:p>
          <a:p>
            <a:pPr marL="742950" lvl="1" indent="-285750">
              <a:lnSpc>
                <a:spcPct val="15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endParaRPr lang="cs-CZ" sz="1600" b="1" dirty="0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728979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délník 3"/>
          <p:cNvSpPr/>
          <p:nvPr/>
        </p:nvSpPr>
        <p:spPr>
          <a:xfrm>
            <a:off x="7456700" y="129394"/>
            <a:ext cx="1435780" cy="5238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cs-CZ" dirty="0"/>
          </a:p>
        </p:txBody>
      </p:sp>
      <p:sp>
        <p:nvSpPr>
          <p:cNvPr id="3" name="Zástupný symbol pro číslo snímku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34A8917-ACC8-47BE-963A-793028AE5469}" type="slidenum">
              <a:rPr lang="sv-SE"/>
              <a:pPr>
                <a:defRPr/>
              </a:pPr>
              <a:t>5</a:t>
            </a:fld>
            <a:endParaRPr lang="sv-SE" dirty="0"/>
          </a:p>
        </p:txBody>
      </p:sp>
      <p:grpSp>
        <p:nvGrpSpPr>
          <p:cNvPr id="10" name="Skupina 9"/>
          <p:cNvGrpSpPr/>
          <p:nvPr/>
        </p:nvGrpSpPr>
        <p:grpSpPr>
          <a:xfrm>
            <a:off x="7380312" y="131764"/>
            <a:ext cx="1625590" cy="488924"/>
            <a:chOff x="7380312" y="131764"/>
            <a:chExt cx="1625590" cy="488924"/>
          </a:xfrm>
        </p:grpSpPr>
        <p:sp>
          <p:nvSpPr>
            <p:cNvPr id="11" name="Obdélník 10"/>
            <p:cNvSpPr/>
            <p:nvPr/>
          </p:nvSpPr>
          <p:spPr>
            <a:xfrm>
              <a:off x="7380312" y="131764"/>
              <a:ext cx="1505992" cy="48892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cs-CZ" dirty="0"/>
            </a:p>
          </p:txBody>
        </p:sp>
        <p:pic>
          <p:nvPicPr>
            <p:cNvPr id="12" name="Obrázek 9"/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464284" y="248938"/>
              <a:ext cx="876550" cy="2826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3" name="Obrázek 8"/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460432" y="248938"/>
              <a:ext cx="545470" cy="3717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4" name="Rubrik 4"/>
          <p:cNvSpPr txBox="1">
            <a:spLocks/>
          </p:cNvSpPr>
          <p:nvPr/>
        </p:nvSpPr>
        <p:spPr bwMode="auto">
          <a:xfrm>
            <a:off x="338436" y="434813"/>
            <a:ext cx="7041876" cy="676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rmAutofit fontScale="90000" lnSpcReduction="20000"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fontAlgn="auto">
              <a:spcAft>
                <a:spcPts val="0"/>
              </a:spcAft>
              <a:defRPr/>
            </a:pPr>
            <a:r>
              <a:rPr lang="cs-CZ" kern="0" dirty="0" smtClean="0"/>
              <a:t>Etapa </a:t>
            </a:r>
            <a:r>
              <a:rPr lang="cs-CZ" kern="0" dirty="0"/>
              <a:t>C </a:t>
            </a:r>
            <a:r>
              <a:rPr lang="cs-CZ" kern="0" dirty="0" smtClean="0"/>
              <a:t>– Majetkoprávní vypořádání:</a:t>
            </a:r>
            <a:br>
              <a:rPr lang="cs-CZ" kern="0" dirty="0" smtClean="0"/>
            </a:br>
            <a:endParaRPr lang="en-GB" kern="0" dirty="0"/>
          </a:p>
        </p:txBody>
      </p:sp>
      <p:sp>
        <p:nvSpPr>
          <p:cNvPr id="2" name="Obdélník 1"/>
          <p:cNvSpPr/>
          <p:nvPr/>
        </p:nvSpPr>
        <p:spPr>
          <a:xfrm>
            <a:off x="267135" y="770443"/>
            <a:ext cx="8539161" cy="540147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lnSpc>
                <a:spcPct val="15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cs-CZ" b="1" u="sng" dirty="0">
                <a:solidFill>
                  <a:srgbClr val="000000"/>
                </a:solidFill>
              </a:rPr>
              <a:t>Povodí Vltavy, státní </a:t>
            </a:r>
            <a:r>
              <a:rPr lang="cs-CZ" b="1" u="sng" dirty="0" smtClean="0">
                <a:solidFill>
                  <a:srgbClr val="000000"/>
                </a:solidFill>
              </a:rPr>
              <a:t>podnik</a:t>
            </a:r>
          </a:p>
          <a:p>
            <a:pPr marL="742950" lvl="1" indent="-285750">
              <a:lnSpc>
                <a:spcPct val="15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cs-CZ" sz="1600" b="1" dirty="0" smtClean="0">
                <a:solidFill>
                  <a:srgbClr val="000000"/>
                </a:solidFill>
              </a:rPr>
              <a:t>Vyjádření v podobě specifikace prioritních opatření</a:t>
            </a:r>
          </a:p>
          <a:p>
            <a:pPr marL="1200150" lvl="2" indent="-285750">
              <a:lnSpc>
                <a:spcPct val="15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cs-CZ" sz="1600" b="1" dirty="0" smtClean="0">
                <a:solidFill>
                  <a:srgbClr val="000000"/>
                </a:solidFill>
              </a:rPr>
              <a:t>Úprava Bělečského p. v obci Běleč i </a:t>
            </a:r>
            <a:r>
              <a:rPr lang="cs-CZ" sz="1600" b="1" dirty="0" err="1" smtClean="0">
                <a:solidFill>
                  <a:srgbClr val="000000"/>
                </a:solidFill>
              </a:rPr>
              <a:t>Litně</a:t>
            </a:r>
            <a:endParaRPr lang="cs-CZ" sz="1600" b="1" dirty="0" smtClean="0">
              <a:solidFill>
                <a:srgbClr val="000000"/>
              </a:solidFill>
            </a:endParaRPr>
          </a:p>
          <a:p>
            <a:pPr marL="1200150" lvl="2" indent="-285750">
              <a:lnSpc>
                <a:spcPct val="15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cs-CZ" sz="1600" b="1" dirty="0" smtClean="0">
                <a:solidFill>
                  <a:srgbClr val="000000"/>
                </a:solidFill>
              </a:rPr>
              <a:t>PPO na Karlickém p. v Dobřichovicích a Karlíku</a:t>
            </a:r>
          </a:p>
          <a:p>
            <a:pPr marL="1200150" lvl="2" indent="-285750">
              <a:lnSpc>
                <a:spcPct val="15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cs-CZ" sz="1600" b="1" dirty="0" smtClean="0">
                <a:solidFill>
                  <a:srgbClr val="000000"/>
                </a:solidFill>
              </a:rPr>
              <a:t>Úprava </a:t>
            </a:r>
            <a:r>
              <a:rPr lang="cs-CZ" sz="1600" b="1" dirty="0" err="1" smtClean="0">
                <a:solidFill>
                  <a:srgbClr val="000000"/>
                </a:solidFill>
              </a:rPr>
              <a:t>Švarcavy</a:t>
            </a:r>
            <a:r>
              <a:rPr lang="cs-CZ" sz="1600" b="1" dirty="0" smtClean="0">
                <a:solidFill>
                  <a:srgbClr val="000000"/>
                </a:solidFill>
              </a:rPr>
              <a:t> v Černošicích</a:t>
            </a:r>
          </a:p>
          <a:p>
            <a:pPr marL="1200150" lvl="2" indent="-285750">
              <a:lnSpc>
                <a:spcPct val="15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cs-CZ" sz="1600" b="1" dirty="0" smtClean="0">
                <a:solidFill>
                  <a:srgbClr val="000000"/>
                </a:solidFill>
              </a:rPr>
              <a:t>PPO na Červeném p. v Bavoryni, Stašově a Praskolesech</a:t>
            </a:r>
          </a:p>
          <a:p>
            <a:pPr marL="1200150" lvl="2" indent="-285750">
              <a:lnSpc>
                <a:spcPct val="15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cs-CZ" sz="1600" b="1" dirty="0" smtClean="0">
                <a:solidFill>
                  <a:srgbClr val="000000"/>
                </a:solidFill>
              </a:rPr>
              <a:t>Úprava Jalového a Mourového p. v Zaječově</a:t>
            </a:r>
          </a:p>
          <a:p>
            <a:pPr marL="1200150" lvl="2" indent="-285750">
              <a:lnSpc>
                <a:spcPct val="15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cs-CZ" sz="1600" b="1" dirty="0" smtClean="0">
                <a:solidFill>
                  <a:srgbClr val="000000"/>
                </a:solidFill>
              </a:rPr>
              <a:t>Odstranění dřevěného jezu na </a:t>
            </a:r>
            <a:r>
              <a:rPr lang="cs-CZ" sz="1600" b="1" dirty="0" err="1" smtClean="0">
                <a:solidFill>
                  <a:srgbClr val="000000"/>
                </a:solidFill>
              </a:rPr>
              <a:t>Litavce</a:t>
            </a:r>
            <a:r>
              <a:rPr lang="cs-CZ" sz="1600" b="1" dirty="0" smtClean="0">
                <a:solidFill>
                  <a:srgbClr val="000000"/>
                </a:solidFill>
              </a:rPr>
              <a:t> v Lochovicích</a:t>
            </a:r>
          </a:p>
          <a:p>
            <a:pPr marL="1200150" lvl="2" indent="-285750">
              <a:lnSpc>
                <a:spcPct val="15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cs-CZ" sz="1600" b="1" dirty="0" smtClean="0">
                <a:solidFill>
                  <a:srgbClr val="000000"/>
                </a:solidFill>
              </a:rPr>
              <a:t>Revitalizace Litavky v Příbrami</a:t>
            </a:r>
          </a:p>
          <a:p>
            <a:pPr marL="1200150" lvl="2" indent="-285750">
              <a:lnSpc>
                <a:spcPct val="15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cs-CZ" sz="1600" b="1" dirty="0" smtClean="0">
                <a:solidFill>
                  <a:srgbClr val="000000"/>
                </a:solidFill>
              </a:rPr>
              <a:t>PPO na Loděnici v Loděnici (Jánské) a lokalitě Sedlec</a:t>
            </a:r>
          </a:p>
          <a:p>
            <a:pPr marL="1200150" lvl="2" indent="-285750">
              <a:lnSpc>
                <a:spcPct val="15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cs-CZ" sz="1600" b="1" dirty="0" smtClean="0">
                <a:solidFill>
                  <a:srgbClr val="000000"/>
                </a:solidFill>
              </a:rPr>
              <a:t>Odstranění migračních překážek na Loděnici nad Nenačovicemi</a:t>
            </a:r>
          </a:p>
          <a:p>
            <a:pPr marL="1200150" lvl="2" indent="-285750">
              <a:lnSpc>
                <a:spcPct val="15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cs-CZ" sz="1600" b="1" dirty="0" smtClean="0">
                <a:solidFill>
                  <a:srgbClr val="000000"/>
                </a:solidFill>
              </a:rPr>
              <a:t>PPO na </a:t>
            </a:r>
            <a:r>
              <a:rPr lang="cs-CZ" sz="1600" b="1" dirty="0" err="1" smtClean="0">
                <a:solidFill>
                  <a:srgbClr val="000000"/>
                </a:solidFill>
              </a:rPr>
              <a:t>Tuchlovickém</a:t>
            </a:r>
            <a:r>
              <a:rPr lang="cs-CZ" sz="1600" b="1" dirty="0" smtClean="0">
                <a:solidFill>
                  <a:srgbClr val="000000"/>
                </a:solidFill>
              </a:rPr>
              <a:t> potoce nad Tuchlovicemi</a:t>
            </a:r>
          </a:p>
          <a:p>
            <a:pPr marL="1200150" lvl="2" indent="-285750">
              <a:lnSpc>
                <a:spcPct val="15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cs-CZ" sz="1600" b="1" dirty="0" smtClean="0">
                <a:solidFill>
                  <a:srgbClr val="000000"/>
                </a:solidFill>
              </a:rPr>
              <a:t>Revitalizace Strašeckého potoka</a:t>
            </a:r>
          </a:p>
        </p:txBody>
      </p:sp>
    </p:spTree>
    <p:extLst>
      <p:ext uri="{BB962C8B-B14F-4D97-AF65-F5344CB8AC3E}">
        <p14:creationId xmlns:p14="http://schemas.microsoft.com/office/powerpoint/2010/main" val="28725773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délník 3"/>
          <p:cNvSpPr/>
          <p:nvPr/>
        </p:nvSpPr>
        <p:spPr>
          <a:xfrm>
            <a:off x="7456700" y="129394"/>
            <a:ext cx="1435780" cy="5238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cs-CZ" dirty="0"/>
          </a:p>
        </p:txBody>
      </p:sp>
      <p:sp>
        <p:nvSpPr>
          <p:cNvPr id="3" name="Zástupný symbol pro číslo snímku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34A8917-ACC8-47BE-963A-793028AE5469}" type="slidenum">
              <a:rPr lang="sv-SE"/>
              <a:pPr>
                <a:defRPr/>
              </a:pPr>
              <a:t>6</a:t>
            </a:fld>
            <a:endParaRPr lang="sv-SE" dirty="0"/>
          </a:p>
        </p:txBody>
      </p:sp>
      <p:grpSp>
        <p:nvGrpSpPr>
          <p:cNvPr id="10" name="Skupina 9"/>
          <p:cNvGrpSpPr/>
          <p:nvPr/>
        </p:nvGrpSpPr>
        <p:grpSpPr>
          <a:xfrm>
            <a:off x="7380312" y="131764"/>
            <a:ext cx="1625590" cy="488924"/>
            <a:chOff x="7380312" y="131764"/>
            <a:chExt cx="1625590" cy="488924"/>
          </a:xfrm>
        </p:grpSpPr>
        <p:sp>
          <p:nvSpPr>
            <p:cNvPr id="11" name="Obdélník 10"/>
            <p:cNvSpPr/>
            <p:nvPr/>
          </p:nvSpPr>
          <p:spPr>
            <a:xfrm>
              <a:off x="7380312" y="131764"/>
              <a:ext cx="1505992" cy="48892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cs-CZ" dirty="0"/>
            </a:p>
          </p:txBody>
        </p:sp>
        <p:pic>
          <p:nvPicPr>
            <p:cNvPr id="12" name="Obrázek 9"/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464284" y="248938"/>
              <a:ext cx="876550" cy="2826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3" name="Obrázek 8"/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460432" y="248938"/>
              <a:ext cx="545470" cy="3717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4" name="Rubrik 4"/>
          <p:cNvSpPr txBox="1">
            <a:spLocks/>
          </p:cNvSpPr>
          <p:nvPr/>
        </p:nvSpPr>
        <p:spPr bwMode="auto">
          <a:xfrm>
            <a:off x="338436" y="434813"/>
            <a:ext cx="7041876" cy="676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rmAutofit fontScale="90000" lnSpcReduction="20000"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fontAlgn="auto">
              <a:spcAft>
                <a:spcPts val="0"/>
              </a:spcAft>
              <a:defRPr/>
            </a:pPr>
            <a:r>
              <a:rPr lang="cs-CZ" kern="0" dirty="0" smtClean="0"/>
              <a:t>Etapa </a:t>
            </a:r>
            <a:r>
              <a:rPr lang="cs-CZ" kern="0" dirty="0"/>
              <a:t>C </a:t>
            </a:r>
            <a:r>
              <a:rPr lang="cs-CZ" kern="0" dirty="0" smtClean="0"/>
              <a:t>– Majetkoprávní vypořádání:</a:t>
            </a:r>
            <a:br>
              <a:rPr lang="cs-CZ" kern="0" dirty="0" smtClean="0"/>
            </a:br>
            <a:endParaRPr lang="en-GB" kern="0" dirty="0"/>
          </a:p>
        </p:txBody>
      </p:sp>
      <p:sp>
        <p:nvSpPr>
          <p:cNvPr id="2" name="Obdélník 1"/>
          <p:cNvSpPr/>
          <p:nvPr/>
        </p:nvSpPr>
        <p:spPr>
          <a:xfrm>
            <a:off x="267135" y="770443"/>
            <a:ext cx="8539161" cy="417806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lnSpc>
                <a:spcPct val="15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cs-CZ" b="1" u="sng" dirty="0">
                <a:solidFill>
                  <a:srgbClr val="000000"/>
                </a:solidFill>
              </a:rPr>
              <a:t>Povodí Vltavy, státní </a:t>
            </a:r>
            <a:r>
              <a:rPr lang="cs-CZ" b="1" u="sng" dirty="0" smtClean="0">
                <a:solidFill>
                  <a:srgbClr val="000000"/>
                </a:solidFill>
              </a:rPr>
              <a:t>podnik</a:t>
            </a:r>
          </a:p>
          <a:p>
            <a:pPr marL="742950" lvl="1" indent="-285750">
              <a:lnSpc>
                <a:spcPct val="15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cs-CZ" sz="1600" b="1" dirty="0" smtClean="0">
                <a:solidFill>
                  <a:srgbClr val="000000"/>
                </a:solidFill>
              </a:rPr>
              <a:t>Vyjádření v podobě specifikace prioritních opatření</a:t>
            </a:r>
          </a:p>
          <a:p>
            <a:pPr marL="1200150" lvl="2" indent="-285750">
              <a:lnSpc>
                <a:spcPct val="15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cs-CZ" sz="1600" b="1" dirty="0" smtClean="0">
                <a:solidFill>
                  <a:srgbClr val="000000"/>
                </a:solidFill>
              </a:rPr>
              <a:t>Odstranění mostku v Počaplech na </a:t>
            </a:r>
            <a:r>
              <a:rPr lang="cs-CZ" sz="1600" b="1" dirty="0" err="1" smtClean="0">
                <a:solidFill>
                  <a:srgbClr val="000000"/>
                </a:solidFill>
              </a:rPr>
              <a:t>Počapelském</a:t>
            </a:r>
            <a:r>
              <a:rPr lang="cs-CZ" sz="1600" b="1" dirty="0" smtClean="0">
                <a:solidFill>
                  <a:srgbClr val="000000"/>
                </a:solidFill>
              </a:rPr>
              <a:t> p.</a:t>
            </a:r>
          </a:p>
          <a:p>
            <a:pPr marL="1200150" lvl="2" indent="-285750">
              <a:lnSpc>
                <a:spcPct val="15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cs-CZ" sz="1600" b="1" dirty="0" smtClean="0">
                <a:solidFill>
                  <a:srgbClr val="000000"/>
                </a:solidFill>
              </a:rPr>
              <a:t>Rekonstrukce mostku v Trubíně na </a:t>
            </a:r>
            <a:r>
              <a:rPr lang="cs-CZ" sz="1600" b="1" dirty="0" err="1" smtClean="0">
                <a:solidFill>
                  <a:srgbClr val="000000"/>
                </a:solidFill>
              </a:rPr>
              <a:t>Počapelském</a:t>
            </a:r>
            <a:r>
              <a:rPr lang="cs-CZ" sz="1600" b="1" dirty="0" smtClean="0">
                <a:solidFill>
                  <a:srgbClr val="000000"/>
                </a:solidFill>
              </a:rPr>
              <a:t> p.</a:t>
            </a:r>
          </a:p>
          <a:p>
            <a:pPr marL="1200150" lvl="2" indent="-285750">
              <a:lnSpc>
                <a:spcPct val="15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cs-CZ" sz="1600" b="1" dirty="0" smtClean="0">
                <a:solidFill>
                  <a:srgbClr val="000000"/>
                </a:solidFill>
              </a:rPr>
              <a:t>MVN nad Zaječovem (již před realizací)</a:t>
            </a:r>
          </a:p>
          <a:p>
            <a:pPr marL="1200150" lvl="2" indent="-285750">
              <a:lnSpc>
                <a:spcPct val="15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cs-CZ" sz="1600" b="1" dirty="0" smtClean="0">
                <a:solidFill>
                  <a:srgbClr val="000000"/>
                </a:solidFill>
              </a:rPr>
              <a:t>Rozšíření a úprava koryta </a:t>
            </a:r>
            <a:r>
              <a:rPr lang="cs-CZ" sz="1600" b="1" dirty="0" err="1" smtClean="0">
                <a:solidFill>
                  <a:srgbClr val="000000"/>
                </a:solidFill>
              </a:rPr>
              <a:t>Obecnického</a:t>
            </a:r>
            <a:r>
              <a:rPr lang="cs-CZ" sz="1600" b="1" dirty="0" smtClean="0">
                <a:solidFill>
                  <a:srgbClr val="000000"/>
                </a:solidFill>
              </a:rPr>
              <a:t> p. v Obecnici</a:t>
            </a:r>
          </a:p>
          <a:p>
            <a:pPr marL="1200150" lvl="2" indent="-285750">
              <a:lnSpc>
                <a:spcPct val="15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cs-CZ" sz="1600" b="1" dirty="0" smtClean="0">
                <a:solidFill>
                  <a:srgbClr val="000000"/>
                </a:solidFill>
              </a:rPr>
              <a:t>Ochrana obce Kroučová v </a:t>
            </a:r>
            <a:r>
              <a:rPr lang="cs-CZ" sz="1600" b="1" dirty="0" err="1" smtClean="0">
                <a:solidFill>
                  <a:srgbClr val="000000"/>
                </a:solidFill>
              </a:rPr>
              <a:t>pram</a:t>
            </a:r>
            <a:r>
              <a:rPr lang="cs-CZ" sz="1600" b="1" dirty="0" smtClean="0">
                <a:solidFill>
                  <a:srgbClr val="000000"/>
                </a:solidFill>
              </a:rPr>
              <a:t>. </a:t>
            </a:r>
            <a:r>
              <a:rPr lang="cs-CZ" sz="1600" b="1" dirty="0" err="1" smtClean="0">
                <a:solidFill>
                  <a:srgbClr val="000000"/>
                </a:solidFill>
              </a:rPr>
              <a:t>obl</a:t>
            </a:r>
            <a:r>
              <a:rPr lang="cs-CZ" sz="1600" b="1" dirty="0" smtClean="0">
                <a:solidFill>
                  <a:srgbClr val="000000"/>
                </a:solidFill>
              </a:rPr>
              <a:t>. Loděnice proti přívalovým srážkám</a:t>
            </a:r>
          </a:p>
          <a:p>
            <a:pPr marL="1200150" lvl="2" indent="-285750">
              <a:lnSpc>
                <a:spcPct val="15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cs-CZ" sz="1600" b="1" dirty="0" smtClean="0">
                <a:solidFill>
                  <a:srgbClr val="000000"/>
                </a:solidFill>
              </a:rPr>
              <a:t>Podpora vybraných posuzovaných VN (MVN)</a:t>
            </a:r>
          </a:p>
          <a:p>
            <a:pPr marL="1200150" lvl="2" indent="-285750">
              <a:lnSpc>
                <a:spcPct val="15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endParaRPr lang="cs-CZ" sz="1600" b="1" dirty="0" smtClean="0">
              <a:solidFill>
                <a:srgbClr val="000000"/>
              </a:solidFill>
            </a:endParaRPr>
          </a:p>
          <a:p>
            <a:pPr marL="1200150" lvl="2" indent="-285750">
              <a:lnSpc>
                <a:spcPct val="15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endParaRPr lang="cs-CZ" sz="1600" b="1" dirty="0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160839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délník 3"/>
          <p:cNvSpPr/>
          <p:nvPr/>
        </p:nvSpPr>
        <p:spPr>
          <a:xfrm>
            <a:off x="7456700" y="129394"/>
            <a:ext cx="1435780" cy="5238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cs-CZ" dirty="0"/>
          </a:p>
        </p:txBody>
      </p:sp>
      <p:sp>
        <p:nvSpPr>
          <p:cNvPr id="3" name="Zástupný symbol pro číslo snímku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34A8917-ACC8-47BE-963A-793028AE5469}" type="slidenum">
              <a:rPr lang="sv-SE"/>
              <a:pPr>
                <a:defRPr/>
              </a:pPr>
              <a:t>7</a:t>
            </a:fld>
            <a:endParaRPr lang="sv-SE" dirty="0"/>
          </a:p>
        </p:txBody>
      </p:sp>
      <p:grpSp>
        <p:nvGrpSpPr>
          <p:cNvPr id="10" name="Skupina 9"/>
          <p:cNvGrpSpPr/>
          <p:nvPr/>
        </p:nvGrpSpPr>
        <p:grpSpPr>
          <a:xfrm>
            <a:off x="7380312" y="131764"/>
            <a:ext cx="1625590" cy="488924"/>
            <a:chOff x="7380312" y="131764"/>
            <a:chExt cx="1625590" cy="488924"/>
          </a:xfrm>
        </p:grpSpPr>
        <p:sp>
          <p:nvSpPr>
            <p:cNvPr id="11" name="Obdélník 10"/>
            <p:cNvSpPr/>
            <p:nvPr/>
          </p:nvSpPr>
          <p:spPr>
            <a:xfrm>
              <a:off x="7380312" y="131764"/>
              <a:ext cx="1505992" cy="48892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cs-CZ" dirty="0"/>
            </a:p>
          </p:txBody>
        </p:sp>
        <p:pic>
          <p:nvPicPr>
            <p:cNvPr id="12" name="Obrázek 9"/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464284" y="248938"/>
              <a:ext cx="876550" cy="2826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3" name="Obrázek 8"/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460432" y="248938"/>
              <a:ext cx="545470" cy="3717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4" name="Rubrik 4"/>
          <p:cNvSpPr txBox="1">
            <a:spLocks/>
          </p:cNvSpPr>
          <p:nvPr/>
        </p:nvSpPr>
        <p:spPr bwMode="auto">
          <a:xfrm>
            <a:off x="338436" y="434813"/>
            <a:ext cx="7041876" cy="676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rmAutofit fontScale="90000" lnSpcReduction="20000"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fontAlgn="auto">
              <a:spcAft>
                <a:spcPts val="0"/>
              </a:spcAft>
              <a:defRPr/>
            </a:pPr>
            <a:r>
              <a:rPr lang="cs-CZ" kern="0" dirty="0" smtClean="0"/>
              <a:t>Etapa </a:t>
            </a:r>
            <a:r>
              <a:rPr lang="cs-CZ" kern="0" dirty="0"/>
              <a:t>C </a:t>
            </a:r>
            <a:r>
              <a:rPr lang="cs-CZ" kern="0" dirty="0" smtClean="0"/>
              <a:t>– Majetkoprávní vypořádání:</a:t>
            </a:r>
            <a:br>
              <a:rPr lang="cs-CZ" kern="0" dirty="0" smtClean="0"/>
            </a:br>
            <a:endParaRPr lang="en-GB" kern="0" dirty="0"/>
          </a:p>
        </p:txBody>
      </p:sp>
      <p:sp>
        <p:nvSpPr>
          <p:cNvPr id="2" name="Obdélník 1"/>
          <p:cNvSpPr/>
          <p:nvPr/>
        </p:nvSpPr>
        <p:spPr>
          <a:xfrm>
            <a:off x="267135" y="770443"/>
            <a:ext cx="8539161" cy="540147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lnSpc>
                <a:spcPct val="15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cs-CZ" b="1" u="sng" dirty="0">
                <a:solidFill>
                  <a:srgbClr val="000000"/>
                </a:solidFill>
              </a:rPr>
              <a:t>Lesy České republiky, státní </a:t>
            </a:r>
            <a:r>
              <a:rPr lang="cs-CZ" b="1" u="sng" dirty="0" smtClean="0">
                <a:solidFill>
                  <a:srgbClr val="000000"/>
                </a:solidFill>
              </a:rPr>
              <a:t>podnik</a:t>
            </a:r>
          </a:p>
          <a:p>
            <a:pPr marL="742950" lvl="1" indent="-285750">
              <a:lnSpc>
                <a:spcPct val="15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cs-CZ" sz="1600" b="1" dirty="0" smtClean="0">
                <a:solidFill>
                  <a:srgbClr val="000000"/>
                </a:solidFill>
              </a:rPr>
              <a:t>Vyjádření v podobě specifikace prioritních opatření</a:t>
            </a:r>
          </a:p>
          <a:p>
            <a:pPr marL="1200150" lvl="2" indent="-285750">
              <a:lnSpc>
                <a:spcPct val="15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cs-CZ" sz="1600" b="1" dirty="0" smtClean="0">
                <a:solidFill>
                  <a:srgbClr val="000000"/>
                </a:solidFill>
              </a:rPr>
              <a:t>Zkapacitnění mostku na </a:t>
            </a:r>
            <a:r>
              <a:rPr lang="cs-CZ" sz="1600" b="1" dirty="0" err="1" smtClean="0">
                <a:solidFill>
                  <a:srgbClr val="000000"/>
                </a:solidFill>
              </a:rPr>
              <a:t>Bubovickém</a:t>
            </a:r>
            <a:r>
              <a:rPr lang="cs-CZ" sz="1600" b="1" dirty="0" smtClean="0">
                <a:solidFill>
                  <a:srgbClr val="000000"/>
                </a:solidFill>
              </a:rPr>
              <a:t> p. v Srbsku</a:t>
            </a:r>
          </a:p>
          <a:p>
            <a:pPr marL="1200150" lvl="2" indent="-285750">
              <a:lnSpc>
                <a:spcPct val="15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cs-CZ" sz="1600" b="1" dirty="0">
                <a:solidFill>
                  <a:srgbClr val="000000"/>
                </a:solidFill>
              </a:rPr>
              <a:t>Zkapacitnění mostku na </a:t>
            </a:r>
            <a:r>
              <a:rPr lang="cs-CZ" sz="1600" b="1" dirty="0" err="1" smtClean="0">
                <a:solidFill>
                  <a:srgbClr val="000000"/>
                </a:solidFill>
              </a:rPr>
              <a:t>Budňanském</a:t>
            </a:r>
            <a:r>
              <a:rPr lang="cs-CZ" sz="1600" b="1" dirty="0" smtClean="0">
                <a:solidFill>
                  <a:srgbClr val="000000"/>
                </a:solidFill>
              </a:rPr>
              <a:t> p. v Karlštejně + přehrážka</a:t>
            </a:r>
          </a:p>
          <a:p>
            <a:pPr marL="1200150" lvl="2" indent="-285750">
              <a:lnSpc>
                <a:spcPct val="15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cs-CZ" sz="1600" b="1" dirty="0" smtClean="0">
                <a:solidFill>
                  <a:srgbClr val="000000"/>
                </a:solidFill>
              </a:rPr>
              <a:t>MVN (SN) na </a:t>
            </a:r>
            <a:r>
              <a:rPr lang="cs-CZ" sz="1600" b="1" dirty="0" err="1" smtClean="0">
                <a:solidFill>
                  <a:srgbClr val="000000"/>
                </a:solidFill>
              </a:rPr>
              <a:t>Podlužském</a:t>
            </a:r>
            <a:r>
              <a:rPr lang="cs-CZ" sz="1600" b="1" dirty="0" smtClean="0">
                <a:solidFill>
                  <a:srgbClr val="000000"/>
                </a:solidFill>
              </a:rPr>
              <a:t> p. (posouzení realizovatelnosti)</a:t>
            </a:r>
          </a:p>
          <a:p>
            <a:pPr marL="1200150" lvl="2" indent="-285750">
              <a:lnSpc>
                <a:spcPct val="15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cs-CZ" sz="1600" b="1" dirty="0" smtClean="0">
                <a:solidFill>
                  <a:srgbClr val="000000"/>
                </a:solidFill>
              </a:rPr>
              <a:t>PPO Podluhy na </a:t>
            </a:r>
            <a:r>
              <a:rPr lang="cs-CZ" sz="1600" b="1" dirty="0" err="1" smtClean="0">
                <a:solidFill>
                  <a:srgbClr val="000000"/>
                </a:solidFill>
              </a:rPr>
              <a:t>Podlužském</a:t>
            </a:r>
            <a:r>
              <a:rPr lang="cs-CZ" sz="1600" b="1" dirty="0" smtClean="0">
                <a:solidFill>
                  <a:srgbClr val="000000"/>
                </a:solidFill>
              </a:rPr>
              <a:t> p.</a:t>
            </a:r>
          </a:p>
          <a:p>
            <a:pPr marL="1200150" lvl="2" indent="-285750">
              <a:lnSpc>
                <a:spcPct val="15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cs-CZ" sz="1600" b="1" dirty="0" smtClean="0">
                <a:solidFill>
                  <a:srgbClr val="000000"/>
                </a:solidFill>
              </a:rPr>
              <a:t>Úprava </a:t>
            </a:r>
            <a:r>
              <a:rPr lang="cs-CZ" sz="1600" b="1" dirty="0" err="1" smtClean="0">
                <a:solidFill>
                  <a:srgbClr val="000000"/>
                </a:solidFill>
              </a:rPr>
              <a:t>Hýskovského</a:t>
            </a:r>
            <a:r>
              <a:rPr lang="cs-CZ" sz="1600" b="1" dirty="0" smtClean="0">
                <a:solidFill>
                  <a:srgbClr val="000000"/>
                </a:solidFill>
              </a:rPr>
              <a:t> potoka v Hýskově podél ul. </a:t>
            </a:r>
            <a:r>
              <a:rPr lang="cs-CZ" sz="1600" b="1" dirty="0" err="1" smtClean="0">
                <a:solidFill>
                  <a:srgbClr val="000000"/>
                </a:solidFill>
              </a:rPr>
              <a:t>Libinská</a:t>
            </a:r>
            <a:endParaRPr lang="cs-CZ" sz="1600" b="1" dirty="0" smtClean="0">
              <a:solidFill>
                <a:srgbClr val="000000"/>
              </a:solidFill>
            </a:endParaRPr>
          </a:p>
          <a:p>
            <a:pPr marL="1200150" lvl="2" indent="-285750">
              <a:lnSpc>
                <a:spcPct val="15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cs-CZ" sz="1600" b="1" dirty="0">
                <a:solidFill>
                  <a:srgbClr val="000000"/>
                </a:solidFill>
              </a:rPr>
              <a:t>Zkapacitnění mostku na </a:t>
            </a:r>
            <a:r>
              <a:rPr lang="cs-CZ" sz="1600" b="1" dirty="0" smtClean="0">
                <a:solidFill>
                  <a:srgbClr val="000000"/>
                </a:solidFill>
              </a:rPr>
              <a:t>Modřejovickém p. v Modřejovicích</a:t>
            </a:r>
          </a:p>
          <a:p>
            <a:pPr marL="1200150" lvl="2" indent="-285750">
              <a:lnSpc>
                <a:spcPct val="15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cs-CZ" sz="1600" b="1" dirty="0">
                <a:solidFill>
                  <a:srgbClr val="000000"/>
                </a:solidFill>
              </a:rPr>
              <a:t>Úprava </a:t>
            </a:r>
            <a:r>
              <a:rPr lang="cs-CZ" sz="1600" b="1" dirty="0" smtClean="0">
                <a:solidFill>
                  <a:srgbClr val="000000"/>
                </a:solidFill>
              </a:rPr>
              <a:t>koryta </a:t>
            </a:r>
            <a:r>
              <a:rPr lang="cs-CZ" sz="1600" b="1" dirty="0">
                <a:solidFill>
                  <a:srgbClr val="000000"/>
                </a:solidFill>
              </a:rPr>
              <a:t>a MVN</a:t>
            </a:r>
            <a:r>
              <a:rPr lang="cs-CZ" sz="1600" b="1" dirty="0" smtClean="0">
                <a:solidFill>
                  <a:srgbClr val="000000"/>
                </a:solidFill>
              </a:rPr>
              <a:t> </a:t>
            </a:r>
            <a:r>
              <a:rPr lang="cs-CZ" sz="1600" b="1" dirty="0" err="1" smtClean="0">
                <a:solidFill>
                  <a:srgbClr val="000000"/>
                </a:solidFill>
              </a:rPr>
              <a:t>Tyterského</a:t>
            </a:r>
            <a:r>
              <a:rPr lang="cs-CZ" sz="1600" b="1" dirty="0" smtClean="0">
                <a:solidFill>
                  <a:srgbClr val="000000"/>
                </a:solidFill>
              </a:rPr>
              <a:t> p. v obci </a:t>
            </a:r>
            <a:r>
              <a:rPr lang="cs-CZ" sz="1600" b="1" dirty="0" err="1" smtClean="0">
                <a:solidFill>
                  <a:srgbClr val="000000"/>
                </a:solidFill>
              </a:rPr>
              <a:t>Tytry</a:t>
            </a:r>
            <a:endParaRPr lang="cs-CZ" sz="1600" b="1" dirty="0" smtClean="0">
              <a:solidFill>
                <a:srgbClr val="000000"/>
              </a:solidFill>
            </a:endParaRPr>
          </a:p>
          <a:p>
            <a:pPr marL="1200150" lvl="2" indent="-285750">
              <a:lnSpc>
                <a:spcPct val="15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cs-CZ" sz="1600" b="1" dirty="0">
                <a:solidFill>
                  <a:srgbClr val="000000"/>
                </a:solidFill>
              </a:rPr>
              <a:t>Úprava koryta a MVN na přítoku </a:t>
            </a:r>
            <a:r>
              <a:rPr lang="cs-CZ" sz="1600" b="1" dirty="0" err="1">
                <a:solidFill>
                  <a:srgbClr val="000000"/>
                </a:solidFill>
              </a:rPr>
              <a:t>Tyterského</a:t>
            </a:r>
            <a:r>
              <a:rPr lang="cs-CZ" sz="1600" b="1" dirty="0">
                <a:solidFill>
                  <a:srgbClr val="000000"/>
                </a:solidFill>
              </a:rPr>
              <a:t> p. ve </a:t>
            </a:r>
            <a:r>
              <a:rPr lang="cs-CZ" sz="1600" b="1" dirty="0" err="1">
                <a:solidFill>
                  <a:srgbClr val="000000"/>
                </a:solidFill>
              </a:rPr>
              <a:t>Skupé</a:t>
            </a:r>
            <a:endParaRPr lang="cs-CZ" sz="1600" b="1" dirty="0">
              <a:solidFill>
                <a:srgbClr val="000000"/>
              </a:solidFill>
            </a:endParaRPr>
          </a:p>
          <a:p>
            <a:pPr marL="1200150" lvl="2" indent="-285750">
              <a:lnSpc>
                <a:spcPct val="15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cs-CZ" sz="1600" b="1" dirty="0" smtClean="0">
                <a:solidFill>
                  <a:srgbClr val="000000"/>
                </a:solidFill>
              </a:rPr>
              <a:t>SN </a:t>
            </a:r>
            <a:r>
              <a:rPr lang="cs-CZ" sz="1600" b="1" dirty="0" err="1" smtClean="0">
                <a:solidFill>
                  <a:srgbClr val="000000"/>
                </a:solidFill>
              </a:rPr>
              <a:t>Tytry</a:t>
            </a:r>
            <a:r>
              <a:rPr lang="cs-CZ" sz="1600" b="1" dirty="0" smtClean="0">
                <a:solidFill>
                  <a:srgbClr val="000000"/>
                </a:solidFill>
              </a:rPr>
              <a:t> na </a:t>
            </a:r>
            <a:r>
              <a:rPr lang="cs-CZ" sz="1600" b="1" dirty="0" err="1" smtClean="0">
                <a:solidFill>
                  <a:srgbClr val="000000"/>
                </a:solidFill>
              </a:rPr>
              <a:t>Tyterském</a:t>
            </a:r>
            <a:r>
              <a:rPr lang="cs-CZ" sz="1600" b="1" dirty="0" smtClean="0">
                <a:solidFill>
                  <a:srgbClr val="000000"/>
                </a:solidFill>
              </a:rPr>
              <a:t> p. </a:t>
            </a:r>
            <a:r>
              <a:rPr lang="cs-CZ" sz="1600" b="1" dirty="0">
                <a:solidFill>
                  <a:srgbClr val="000000"/>
                </a:solidFill>
              </a:rPr>
              <a:t>(posouzení realizovatelnosti)</a:t>
            </a:r>
          </a:p>
          <a:p>
            <a:pPr marL="1200150" lvl="2" indent="-285750">
              <a:lnSpc>
                <a:spcPct val="15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cs-CZ" sz="1600" b="1" dirty="0" smtClean="0">
                <a:solidFill>
                  <a:srgbClr val="000000"/>
                </a:solidFill>
              </a:rPr>
              <a:t>SN Hýskov </a:t>
            </a:r>
            <a:r>
              <a:rPr lang="cs-CZ" sz="1600" b="1" dirty="0">
                <a:solidFill>
                  <a:srgbClr val="000000"/>
                </a:solidFill>
              </a:rPr>
              <a:t>na </a:t>
            </a:r>
            <a:r>
              <a:rPr lang="cs-CZ" sz="1600" b="1" dirty="0" err="1" smtClean="0">
                <a:solidFill>
                  <a:srgbClr val="000000"/>
                </a:solidFill>
              </a:rPr>
              <a:t>Hýskovském</a:t>
            </a:r>
            <a:r>
              <a:rPr lang="cs-CZ" sz="1600" b="1" dirty="0" smtClean="0">
                <a:solidFill>
                  <a:srgbClr val="000000"/>
                </a:solidFill>
              </a:rPr>
              <a:t> </a:t>
            </a:r>
            <a:r>
              <a:rPr lang="cs-CZ" sz="1600" b="1" dirty="0">
                <a:solidFill>
                  <a:srgbClr val="000000"/>
                </a:solidFill>
              </a:rPr>
              <a:t>p. (posouzení realizovatelnosti)</a:t>
            </a:r>
          </a:p>
          <a:p>
            <a:pPr marL="1200150" lvl="2" indent="-285750">
              <a:lnSpc>
                <a:spcPct val="15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endParaRPr lang="cs-CZ" sz="1600" b="1" dirty="0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802237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délník 3"/>
          <p:cNvSpPr/>
          <p:nvPr/>
        </p:nvSpPr>
        <p:spPr>
          <a:xfrm>
            <a:off x="7456700" y="129394"/>
            <a:ext cx="1435780" cy="5238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cs-CZ" dirty="0"/>
          </a:p>
        </p:txBody>
      </p:sp>
      <p:sp>
        <p:nvSpPr>
          <p:cNvPr id="3" name="Zástupný symbol pro číslo snímku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34A8917-ACC8-47BE-963A-793028AE5469}" type="slidenum">
              <a:rPr lang="sv-SE"/>
              <a:pPr>
                <a:defRPr/>
              </a:pPr>
              <a:t>8</a:t>
            </a:fld>
            <a:endParaRPr lang="sv-SE" dirty="0"/>
          </a:p>
        </p:txBody>
      </p:sp>
      <p:grpSp>
        <p:nvGrpSpPr>
          <p:cNvPr id="10" name="Skupina 9"/>
          <p:cNvGrpSpPr/>
          <p:nvPr/>
        </p:nvGrpSpPr>
        <p:grpSpPr>
          <a:xfrm>
            <a:off x="7380312" y="131764"/>
            <a:ext cx="1625590" cy="488924"/>
            <a:chOff x="7380312" y="131764"/>
            <a:chExt cx="1625590" cy="488924"/>
          </a:xfrm>
        </p:grpSpPr>
        <p:sp>
          <p:nvSpPr>
            <p:cNvPr id="11" name="Obdélník 10"/>
            <p:cNvSpPr/>
            <p:nvPr/>
          </p:nvSpPr>
          <p:spPr>
            <a:xfrm>
              <a:off x="7380312" y="131764"/>
              <a:ext cx="1505992" cy="48892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cs-CZ" dirty="0"/>
            </a:p>
          </p:txBody>
        </p:sp>
        <p:pic>
          <p:nvPicPr>
            <p:cNvPr id="12" name="Obrázek 9"/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464284" y="248938"/>
              <a:ext cx="876550" cy="2826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3" name="Obrázek 8"/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460432" y="248938"/>
              <a:ext cx="545470" cy="3717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4" name="Rubrik 4"/>
          <p:cNvSpPr txBox="1">
            <a:spLocks/>
          </p:cNvSpPr>
          <p:nvPr/>
        </p:nvSpPr>
        <p:spPr bwMode="auto">
          <a:xfrm>
            <a:off x="338436" y="434813"/>
            <a:ext cx="7041876" cy="676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rmAutofit fontScale="90000" lnSpcReduction="20000"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fontAlgn="auto">
              <a:spcAft>
                <a:spcPts val="0"/>
              </a:spcAft>
              <a:defRPr/>
            </a:pPr>
            <a:r>
              <a:rPr lang="cs-CZ" kern="0" dirty="0" smtClean="0"/>
              <a:t>Etapa </a:t>
            </a:r>
            <a:r>
              <a:rPr lang="cs-CZ" kern="0" dirty="0"/>
              <a:t>C </a:t>
            </a:r>
            <a:r>
              <a:rPr lang="cs-CZ" kern="0" dirty="0" smtClean="0"/>
              <a:t>– Majetkoprávní vypořádání:</a:t>
            </a:r>
            <a:br>
              <a:rPr lang="cs-CZ" kern="0" dirty="0" smtClean="0"/>
            </a:br>
            <a:endParaRPr lang="en-GB" kern="0" dirty="0"/>
          </a:p>
        </p:txBody>
      </p:sp>
      <p:sp>
        <p:nvSpPr>
          <p:cNvPr id="2" name="Obdélník 1"/>
          <p:cNvSpPr/>
          <p:nvPr/>
        </p:nvSpPr>
        <p:spPr>
          <a:xfrm>
            <a:off x="267135" y="770443"/>
            <a:ext cx="8539161" cy="540147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lnSpc>
                <a:spcPct val="15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cs-CZ" b="1" u="sng" dirty="0">
                <a:solidFill>
                  <a:srgbClr val="000000"/>
                </a:solidFill>
              </a:rPr>
              <a:t>Lesy České republiky, státní </a:t>
            </a:r>
            <a:r>
              <a:rPr lang="cs-CZ" b="1" u="sng" dirty="0" smtClean="0">
                <a:solidFill>
                  <a:srgbClr val="000000"/>
                </a:solidFill>
              </a:rPr>
              <a:t>podnik</a:t>
            </a:r>
          </a:p>
          <a:p>
            <a:pPr marL="742950" lvl="1" indent="-285750">
              <a:lnSpc>
                <a:spcPct val="15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cs-CZ" sz="1600" b="1" dirty="0" smtClean="0">
                <a:solidFill>
                  <a:srgbClr val="000000"/>
                </a:solidFill>
              </a:rPr>
              <a:t>Vyjádření v podobě specifikace prioritních opatření</a:t>
            </a:r>
          </a:p>
          <a:p>
            <a:pPr marL="1200150" lvl="2" indent="-285750">
              <a:lnSpc>
                <a:spcPct val="15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cs-CZ" sz="1600" b="1" dirty="0" smtClean="0">
                <a:solidFill>
                  <a:srgbClr val="000000"/>
                </a:solidFill>
              </a:rPr>
              <a:t>Opatření na </a:t>
            </a:r>
            <a:r>
              <a:rPr lang="cs-CZ" sz="1600" b="1" dirty="0" err="1" smtClean="0">
                <a:solidFill>
                  <a:srgbClr val="000000"/>
                </a:solidFill>
              </a:rPr>
              <a:t>Vůznici</a:t>
            </a:r>
            <a:r>
              <a:rPr lang="cs-CZ" sz="1600" b="1" dirty="0" smtClean="0">
                <a:solidFill>
                  <a:srgbClr val="000000"/>
                </a:solidFill>
              </a:rPr>
              <a:t> a ploše povodí nad obcí Běleč u fotbalového hřiště</a:t>
            </a:r>
          </a:p>
          <a:p>
            <a:pPr marL="1200150" lvl="2" indent="-285750">
              <a:lnSpc>
                <a:spcPct val="15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cs-CZ" sz="1600" b="1" dirty="0" smtClean="0">
                <a:solidFill>
                  <a:srgbClr val="000000"/>
                </a:solidFill>
              </a:rPr>
              <a:t>Úprava propustku na </a:t>
            </a:r>
            <a:r>
              <a:rPr lang="cs-CZ" sz="1600" b="1" dirty="0" err="1" smtClean="0">
                <a:solidFill>
                  <a:srgbClr val="000000"/>
                </a:solidFill>
              </a:rPr>
              <a:t>Kejné</a:t>
            </a:r>
            <a:r>
              <a:rPr lang="cs-CZ" sz="1600" b="1" dirty="0" smtClean="0">
                <a:solidFill>
                  <a:srgbClr val="000000"/>
                </a:solidFill>
              </a:rPr>
              <a:t> nad Řevnicemi</a:t>
            </a:r>
          </a:p>
          <a:p>
            <a:pPr marL="1200150" lvl="2" indent="-285750">
              <a:lnSpc>
                <a:spcPct val="15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cs-CZ" sz="1600" b="1" dirty="0">
                <a:solidFill>
                  <a:srgbClr val="000000"/>
                </a:solidFill>
              </a:rPr>
              <a:t>Opatření </a:t>
            </a:r>
            <a:r>
              <a:rPr lang="cs-CZ" sz="1600" b="1" dirty="0" smtClean="0">
                <a:solidFill>
                  <a:srgbClr val="000000"/>
                </a:solidFill>
              </a:rPr>
              <a:t>v ploše </a:t>
            </a:r>
            <a:r>
              <a:rPr lang="cs-CZ" sz="1600" b="1" dirty="0">
                <a:solidFill>
                  <a:srgbClr val="000000"/>
                </a:solidFill>
              </a:rPr>
              <a:t>povodí </a:t>
            </a:r>
            <a:r>
              <a:rPr lang="cs-CZ" sz="1600" b="1" dirty="0" smtClean="0">
                <a:solidFill>
                  <a:srgbClr val="000000"/>
                </a:solidFill>
              </a:rPr>
              <a:t>u obce </a:t>
            </a:r>
            <a:r>
              <a:rPr lang="cs-CZ" sz="1600" b="1" dirty="0" err="1" smtClean="0">
                <a:solidFill>
                  <a:srgbClr val="000000"/>
                </a:solidFill>
              </a:rPr>
              <a:t>Tytry</a:t>
            </a:r>
            <a:endParaRPr lang="cs-CZ" sz="1600" b="1" dirty="0" smtClean="0">
              <a:solidFill>
                <a:srgbClr val="000000"/>
              </a:solidFill>
            </a:endParaRPr>
          </a:p>
          <a:p>
            <a:pPr marL="1200150" lvl="2" indent="-285750">
              <a:lnSpc>
                <a:spcPct val="15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cs-CZ" sz="1600" b="1" dirty="0">
                <a:solidFill>
                  <a:srgbClr val="000000"/>
                </a:solidFill>
              </a:rPr>
              <a:t>Opatření </a:t>
            </a:r>
            <a:r>
              <a:rPr lang="cs-CZ" sz="1600" b="1" dirty="0" smtClean="0">
                <a:solidFill>
                  <a:srgbClr val="000000"/>
                </a:solidFill>
              </a:rPr>
              <a:t>v ploše </a:t>
            </a:r>
            <a:r>
              <a:rPr lang="cs-CZ" sz="1600" b="1" dirty="0">
                <a:solidFill>
                  <a:srgbClr val="000000"/>
                </a:solidFill>
              </a:rPr>
              <a:t>povodí u obce </a:t>
            </a:r>
            <a:r>
              <a:rPr lang="cs-CZ" sz="1600" b="1" dirty="0" smtClean="0">
                <a:solidFill>
                  <a:srgbClr val="000000"/>
                </a:solidFill>
              </a:rPr>
              <a:t>Modřejovice</a:t>
            </a:r>
          </a:p>
          <a:p>
            <a:pPr marL="1200150" lvl="2" indent="-285750">
              <a:lnSpc>
                <a:spcPct val="15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cs-CZ" sz="1600" b="1" dirty="0">
                <a:solidFill>
                  <a:srgbClr val="000000"/>
                </a:solidFill>
              </a:rPr>
              <a:t>Opatření </a:t>
            </a:r>
            <a:r>
              <a:rPr lang="cs-CZ" sz="1600" b="1" dirty="0" smtClean="0">
                <a:solidFill>
                  <a:srgbClr val="000000"/>
                </a:solidFill>
              </a:rPr>
              <a:t>v ploše </a:t>
            </a:r>
            <a:r>
              <a:rPr lang="cs-CZ" sz="1600" b="1" dirty="0">
                <a:solidFill>
                  <a:srgbClr val="000000"/>
                </a:solidFill>
              </a:rPr>
              <a:t>povodí u obce </a:t>
            </a:r>
            <a:r>
              <a:rPr lang="cs-CZ" sz="1600" b="1" dirty="0" smtClean="0">
                <a:solidFill>
                  <a:srgbClr val="000000"/>
                </a:solidFill>
              </a:rPr>
              <a:t>Krakovec </a:t>
            </a:r>
          </a:p>
          <a:p>
            <a:pPr marL="1200150" lvl="2" indent="-285750">
              <a:lnSpc>
                <a:spcPct val="15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endParaRPr lang="cs-CZ" sz="1600" b="1" dirty="0" smtClean="0">
              <a:solidFill>
                <a:srgbClr val="FF0000"/>
              </a:solidFill>
            </a:endParaRPr>
          </a:p>
          <a:p>
            <a:pPr marL="742950" lvl="1" indent="-285750">
              <a:lnSpc>
                <a:spcPct val="15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cs-CZ" sz="1600" b="1" dirty="0">
                <a:solidFill>
                  <a:srgbClr val="000000"/>
                </a:solidFill>
              </a:rPr>
              <a:t>Vyjádření </a:t>
            </a:r>
            <a:r>
              <a:rPr lang="cs-CZ" sz="1600" b="1" dirty="0" smtClean="0">
                <a:solidFill>
                  <a:srgbClr val="000000"/>
                </a:solidFill>
              </a:rPr>
              <a:t>jednotlivých lesních správ k dotčeným pozemkům</a:t>
            </a:r>
            <a:endParaRPr lang="cs-CZ" sz="1600" b="1" dirty="0">
              <a:solidFill>
                <a:srgbClr val="000000"/>
              </a:solidFill>
            </a:endParaRPr>
          </a:p>
          <a:p>
            <a:pPr marL="1200150" lvl="2" indent="-285750">
              <a:lnSpc>
                <a:spcPct val="15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endParaRPr lang="cs-CZ" sz="1600" b="1" dirty="0" smtClean="0">
              <a:solidFill>
                <a:srgbClr val="FF0000"/>
              </a:solidFill>
            </a:endParaRPr>
          </a:p>
          <a:p>
            <a:pPr marL="1200150" lvl="2" indent="-285750">
              <a:lnSpc>
                <a:spcPct val="15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endParaRPr lang="cs-CZ" sz="1600" b="1" dirty="0" smtClean="0">
              <a:solidFill>
                <a:srgbClr val="000000"/>
              </a:solidFill>
            </a:endParaRPr>
          </a:p>
          <a:p>
            <a:pPr marL="1200150" lvl="2" indent="-285750">
              <a:lnSpc>
                <a:spcPct val="15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endParaRPr lang="cs-CZ" sz="1600" b="1" dirty="0" smtClean="0">
              <a:solidFill>
                <a:srgbClr val="000000"/>
              </a:solidFill>
            </a:endParaRPr>
          </a:p>
          <a:p>
            <a:pPr marL="1200150" lvl="2" indent="-285750">
              <a:lnSpc>
                <a:spcPct val="15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endParaRPr lang="cs-CZ" sz="1600" b="1" dirty="0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672790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délník 3"/>
          <p:cNvSpPr/>
          <p:nvPr/>
        </p:nvSpPr>
        <p:spPr>
          <a:xfrm>
            <a:off x="7456700" y="129394"/>
            <a:ext cx="1435780" cy="5238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cs-CZ" dirty="0"/>
          </a:p>
        </p:txBody>
      </p:sp>
      <p:sp>
        <p:nvSpPr>
          <p:cNvPr id="3" name="Zástupný symbol pro číslo snímku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34A8917-ACC8-47BE-963A-793028AE5469}" type="slidenum">
              <a:rPr lang="sv-SE"/>
              <a:pPr>
                <a:defRPr/>
              </a:pPr>
              <a:t>9</a:t>
            </a:fld>
            <a:endParaRPr lang="sv-SE" dirty="0"/>
          </a:p>
        </p:txBody>
      </p:sp>
      <p:grpSp>
        <p:nvGrpSpPr>
          <p:cNvPr id="10" name="Skupina 9"/>
          <p:cNvGrpSpPr/>
          <p:nvPr/>
        </p:nvGrpSpPr>
        <p:grpSpPr>
          <a:xfrm>
            <a:off x="7380312" y="131764"/>
            <a:ext cx="1625590" cy="488924"/>
            <a:chOff x="7380312" y="131764"/>
            <a:chExt cx="1625590" cy="488924"/>
          </a:xfrm>
        </p:grpSpPr>
        <p:sp>
          <p:nvSpPr>
            <p:cNvPr id="11" name="Obdélník 10"/>
            <p:cNvSpPr/>
            <p:nvPr/>
          </p:nvSpPr>
          <p:spPr>
            <a:xfrm>
              <a:off x="7380312" y="131764"/>
              <a:ext cx="1505992" cy="48892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cs-CZ" dirty="0"/>
            </a:p>
          </p:txBody>
        </p:sp>
        <p:pic>
          <p:nvPicPr>
            <p:cNvPr id="12" name="Obrázek 9"/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464284" y="248938"/>
              <a:ext cx="876550" cy="2826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3" name="Obrázek 8"/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460432" y="248938"/>
              <a:ext cx="545470" cy="3717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4" name="Rubrik 4"/>
          <p:cNvSpPr txBox="1">
            <a:spLocks/>
          </p:cNvSpPr>
          <p:nvPr/>
        </p:nvSpPr>
        <p:spPr bwMode="auto">
          <a:xfrm>
            <a:off x="338436" y="434813"/>
            <a:ext cx="7041876" cy="676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rmAutofit fontScale="90000" lnSpcReduction="20000"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fontAlgn="auto">
              <a:spcAft>
                <a:spcPts val="0"/>
              </a:spcAft>
              <a:defRPr/>
            </a:pPr>
            <a:r>
              <a:rPr lang="cs-CZ" kern="0" dirty="0" smtClean="0"/>
              <a:t>Etapa </a:t>
            </a:r>
            <a:r>
              <a:rPr lang="cs-CZ" kern="0" dirty="0"/>
              <a:t>C </a:t>
            </a:r>
            <a:r>
              <a:rPr lang="cs-CZ" kern="0" dirty="0" smtClean="0"/>
              <a:t>– Majetkoprávní vypořádání:</a:t>
            </a:r>
            <a:br>
              <a:rPr lang="cs-CZ" kern="0" dirty="0" smtClean="0"/>
            </a:br>
            <a:endParaRPr lang="en-GB" kern="0" dirty="0"/>
          </a:p>
        </p:txBody>
      </p:sp>
      <p:sp>
        <p:nvSpPr>
          <p:cNvPr id="2" name="Obdélník 1"/>
          <p:cNvSpPr/>
          <p:nvPr/>
        </p:nvSpPr>
        <p:spPr>
          <a:xfrm>
            <a:off x="267135" y="770443"/>
            <a:ext cx="8539161" cy="57323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lvl="0" indent="-285750">
              <a:lnSpc>
                <a:spcPct val="15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cs-CZ" b="1" u="sng" dirty="0" smtClean="0">
                <a:solidFill>
                  <a:srgbClr val="000000"/>
                </a:solidFill>
              </a:rPr>
              <a:t>AOPK ČR:</a:t>
            </a:r>
          </a:p>
          <a:p>
            <a:pPr marL="742950" lvl="1" indent="-285750">
              <a:lnSpc>
                <a:spcPct val="15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cs-CZ" sz="1600" b="1" dirty="0" smtClean="0">
                <a:solidFill>
                  <a:srgbClr val="000000"/>
                </a:solidFill>
              </a:rPr>
              <a:t>Obecná doporučení k jednotlivým typům opatření + konkrétní doporučení k vybraným opatřením, případně negativní vyjádření k opatření vč. odůvodnění</a:t>
            </a:r>
          </a:p>
          <a:p>
            <a:pPr marL="742950" lvl="1" indent="-285750">
              <a:lnSpc>
                <a:spcPct val="15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cs-CZ" sz="1600" b="1" dirty="0" smtClean="0">
                <a:solidFill>
                  <a:srgbClr val="000000"/>
                </a:solidFill>
              </a:rPr>
              <a:t>Nádrže s připomínkou či podmínkami k dalšímu řešení:</a:t>
            </a:r>
          </a:p>
          <a:p>
            <a:pPr marL="1200150" lvl="2" indent="-285750">
              <a:lnSpc>
                <a:spcPct val="15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cs-CZ" sz="1600" b="1" dirty="0" smtClean="0">
                <a:solidFill>
                  <a:srgbClr val="000000"/>
                </a:solidFill>
              </a:rPr>
              <a:t>SN </a:t>
            </a:r>
            <a:r>
              <a:rPr lang="cs-CZ" sz="1600" b="1" dirty="0" err="1" smtClean="0">
                <a:solidFill>
                  <a:srgbClr val="000000"/>
                </a:solidFill>
              </a:rPr>
              <a:t>Tytry</a:t>
            </a:r>
            <a:r>
              <a:rPr lang="cs-CZ" sz="1600" b="1" dirty="0">
                <a:solidFill>
                  <a:srgbClr val="000000"/>
                </a:solidFill>
              </a:rPr>
              <a:t>,</a:t>
            </a:r>
            <a:r>
              <a:rPr lang="cs-CZ" sz="1600" b="1" dirty="0" smtClean="0">
                <a:solidFill>
                  <a:srgbClr val="000000"/>
                </a:solidFill>
              </a:rPr>
              <a:t> SN Krakovec, SN Nižbor, SN Běleč, </a:t>
            </a:r>
            <a:r>
              <a:rPr lang="cs-CZ" sz="1600" b="1" dirty="0">
                <a:solidFill>
                  <a:srgbClr val="000000"/>
                </a:solidFill>
              </a:rPr>
              <a:t>SN Malé </a:t>
            </a:r>
            <a:r>
              <a:rPr lang="cs-CZ" sz="1600" b="1" dirty="0" smtClean="0">
                <a:solidFill>
                  <a:srgbClr val="000000"/>
                </a:solidFill>
              </a:rPr>
              <a:t>Přílepy, </a:t>
            </a:r>
            <a:r>
              <a:rPr lang="cs-CZ" sz="1600" b="1" dirty="0">
                <a:solidFill>
                  <a:srgbClr val="000000"/>
                </a:solidFill>
              </a:rPr>
              <a:t>SN </a:t>
            </a:r>
            <a:r>
              <a:rPr lang="cs-CZ" sz="1600" b="1" dirty="0" smtClean="0">
                <a:solidFill>
                  <a:srgbClr val="000000"/>
                </a:solidFill>
              </a:rPr>
              <a:t>Hředle, SN Heřman</a:t>
            </a:r>
          </a:p>
          <a:p>
            <a:pPr marL="742950" lvl="1" indent="-285750">
              <a:lnSpc>
                <a:spcPct val="15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cs-CZ" sz="1600" b="1" dirty="0" smtClean="0">
                <a:solidFill>
                  <a:srgbClr val="000000"/>
                </a:solidFill>
              </a:rPr>
              <a:t>Nádrže </a:t>
            </a:r>
            <a:r>
              <a:rPr lang="cs-CZ" sz="1600" b="1" dirty="0" smtClean="0">
                <a:solidFill>
                  <a:srgbClr val="000000"/>
                </a:solidFill>
              </a:rPr>
              <a:t>bez zásadních připomínek či doporučované: </a:t>
            </a:r>
            <a:endParaRPr lang="cs-CZ" sz="1600" b="1" dirty="0" smtClean="0">
              <a:solidFill>
                <a:srgbClr val="000000"/>
              </a:solidFill>
            </a:endParaRPr>
          </a:p>
          <a:p>
            <a:pPr marL="1200150" lvl="2" indent="-285750">
              <a:lnSpc>
                <a:spcPct val="15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cs-CZ" sz="1600" b="1" dirty="0" smtClean="0">
                <a:solidFill>
                  <a:srgbClr val="000000"/>
                </a:solidFill>
              </a:rPr>
              <a:t>SN Trněný Újezd na Karlickém p., </a:t>
            </a:r>
          </a:p>
          <a:p>
            <a:pPr marL="1200150" lvl="2" indent="-285750">
              <a:lnSpc>
                <a:spcPct val="15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cs-CZ" sz="1600" b="1" dirty="0" smtClean="0">
                <a:solidFill>
                  <a:srgbClr val="000000"/>
                </a:solidFill>
              </a:rPr>
              <a:t>SN Roblín na </a:t>
            </a:r>
            <a:r>
              <a:rPr lang="cs-CZ" sz="1600" b="1" dirty="0" err="1" smtClean="0">
                <a:solidFill>
                  <a:srgbClr val="000000"/>
                </a:solidFill>
              </a:rPr>
              <a:t>Švarcavě</a:t>
            </a:r>
            <a:r>
              <a:rPr lang="cs-CZ" sz="1600" b="1" dirty="0" smtClean="0">
                <a:solidFill>
                  <a:srgbClr val="000000"/>
                </a:solidFill>
              </a:rPr>
              <a:t>, </a:t>
            </a:r>
          </a:p>
          <a:p>
            <a:pPr marL="1200150" lvl="2" indent="-285750">
              <a:lnSpc>
                <a:spcPct val="15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cs-CZ" sz="1600" b="1" dirty="0" smtClean="0">
                <a:solidFill>
                  <a:srgbClr val="000000"/>
                </a:solidFill>
              </a:rPr>
              <a:t>SN nad Tuchlovicemi na </a:t>
            </a:r>
            <a:r>
              <a:rPr lang="cs-CZ" sz="1600" b="1" dirty="0" err="1" smtClean="0">
                <a:solidFill>
                  <a:srgbClr val="000000"/>
                </a:solidFill>
              </a:rPr>
              <a:t>Tuchlovickém</a:t>
            </a:r>
            <a:r>
              <a:rPr lang="cs-CZ" sz="1600" b="1" dirty="0" smtClean="0">
                <a:solidFill>
                  <a:srgbClr val="000000"/>
                </a:solidFill>
              </a:rPr>
              <a:t> p., </a:t>
            </a:r>
          </a:p>
          <a:p>
            <a:pPr marL="1200150" lvl="2" indent="-285750">
              <a:lnSpc>
                <a:spcPct val="15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cs-CZ" sz="1600" b="1" dirty="0" smtClean="0">
                <a:solidFill>
                  <a:srgbClr val="000000"/>
                </a:solidFill>
              </a:rPr>
              <a:t>SN </a:t>
            </a:r>
            <a:r>
              <a:rPr lang="cs-CZ" sz="1600" b="1" dirty="0" smtClean="0">
                <a:solidFill>
                  <a:srgbClr val="000000"/>
                </a:solidFill>
              </a:rPr>
              <a:t>na Vraním potoce, </a:t>
            </a:r>
          </a:p>
          <a:p>
            <a:pPr marL="1200150" lvl="2" indent="-285750">
              <a:lnSpc>
                <a:spcPct val="15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cs-CZ" sz="1600" b="1" dirty="0" smtClean="0">
                <a:solidFill>
                  <a:srgbClr val="000000"/>
                </a:solidFill>
              </a:rPr>
              <a:t>SN Malá Víska na Červeném p., </a:t>
            </a:r>
          </a:p>
          <a:p>
            <a:pPr marL="1200150" lvl="2" indent="-285750">
              <a:lnSpc>
                <a:spcPct val="15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cs-CZ" sz="1600" b="1" dirty="0" smtClean="0">
                <a:solidFill>
                  <a:srgbClr val="000000"/>
                </a:solidFill>
              </a:rPr>
              <a:t>SN Obora, Rpety a Podluhy na </a:t>
            </a:r>
            <a:r>
              <a:rPr lang="cs-CZ" sz="1600" b="1" dirty="0" err="1" smtClean="0">
                <a:solidFill>
                  <a:srgbClr val="000000"/>
                </a:solidFill>
              </a:rPr>
              <a:t>Podlužském</a:t>
            </a:r>
            <a:r>
              <a:rPr lang="cs-CZ" sz="1600" b="1" dirty="0" smtClean="0">
                <a:solidFill>
                  <a:srgbClr val="000000"/>
                </a:solidFill>
              </a:rPr>
              <a:t> p., </a:t>
            </a:r>
          </a:p>
          <a:p>
            <a:pPr marL="1200150" lvl="2" indent="-285750">
              <a:lnSpc>
                <a:spcPct val="15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cs-CZ" sz="1600" b="1" dirty="0" smtClean="0">
                <a:solidFill>
                  <a:srgbClr val="000000"/>
                </a:solidFill>
              </a:rPr>
              <a:t>SN Bykoš na </a:t>
            </a:r>
            <a:r>
              <a:rPr lang="cs-CZ" sz="1600" b="1" dirty="0" err="1" smtClean="0">
                <a:solidFill>
                  <a:srgbClr val="000000"/>
                </a:solidFill>
              </a:rPr>
              <a:t>Suchomastském</a:t>
            </a:r>
            <a:r>
              <a:rPr lang="cs-CZ" sz="1600" b="1" dirty="0" smtClean="0">
                <a:solidFill>
                  <a:srgbClr val="000000"/>
                </a:solidFill>
              </a:rPr>
              <a:t> p</a:t>
            </a:r>
            <a:r>
              <a:rPr lang="cs-CZ" sz="1600" b="1" dirty="0" smtClean="0">
                <a:solidFill>
                  <a:srgbClr val="000000"/>
                </a:solidFill>
              </a:rPr>
              <a:t>.,</a:t>
            </a:r>
            <a:endParaRPr lang="cs-CZ" sz="1600" b="1" dirty="0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946846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WECO-template PP">
  <a:themeElements>
    <a:clrScheme name="Generell 1">
      <a:dk1>
        <a:srgbClr val="4D4D4D"/>
      </a:dk1>
      <a:lt1>
        <a:srgbClr val="FFFFFF"/>
      </a:lt1>
      <a:dk2>
        <a:srgbClr val="292929"/>
      </a:dk2>
      <a:lt2>
        <a:srgbClr val="EAEAEA"/>
      </a:lt2>
      <a:accent1>
        <a:srgbClr val="4D4D4D"/>
      </a:accent1>
      <a:accent2>
        <a:srgbClr val="B2B2B2"/>
      </a:accent2>
      <a:accent3>
        <a:srgbClr val="FFFFFF"/>
      </a:accent3>
      <a:accent4>
        <a:srgbClr val="404040"/>
      </a:accent4>
      <a:accent5>
        <a:srgbClr val="B2B2B2"/>
      </a:accent5>
      <a:accent6>
        <a:srgbClr val="A1A1A1"/>
      </a:accent6>
      <a:hlink>
        <a:srgbClr val="777777"/>
      </a:hlink>
      <a:folHlink>
        <a:srgbClr val="777777"/>
      </a:folHlink>
    </a:clrScheme>
    <a:fontScheme name="Generel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Generell 1">
        <a:dk1>
          <a:srgbClr val="4D4D4D"/>
        </a:dk1>
        <a:lt1>
          <a:srgbClr val="FFFFFF"/>
        </a:lt1>
        <a:dk2>
          <a:srgbClr val="292929"/>
        </a:dk2>
        <a:lt2>
          <a:srgbClr val="EAEAEA"/>
        </a:lt2>
        <a:accent1>
          <a:srgbClr val="4D4D4D"/>
        </a:accent1>
        <a:accent2>
          <a:srgbClr val="B2B2B2"/>
        </a:accent2>
        <a:accent3>
          <a:srgbClr val="FFFFFF"/>
        </a:accent3>
        <a:accent4>
          <a:srgbClr val="404040"/>
        </a:accent4>
        <a:accent5>
          <a:srgbClr val="B2B2B2"/>
        </a:accent5>
        <a:accent6>
          <a:srgbClr val="A1A1A1"/>
        </a:accent6>
        <a:hlink>
          <a:srgbClr val="777777"/>
        </a:hlink>
        <a:folHlink>
          <a:srgbClr val="777777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Intro">
  <a:themeElements>
    <a:clrScheme name="Intro 1">
      <a:dk1>
        <a:srgbClr val="4D4D4D"/>
      </a:dk1>
      <a:lt1>
        <a:srgbClr val="FFFFFF"/>
      </a:lt1>
      <a:dk2>
        <a:srgbClr val="292929"/>
      </a:dk2>
      <a:lt2>
        <a:srgbClr val="EAEAEA"/>
      </a:lt2>
      <a:accent1>
        <a:srgbClr val="4D4D4D"/>
      </a:accent1>
      <a:accent2>
        <a:srgbClr val="B2B2B2"/>
      </a:accent2>
      <a:accent3>
        <a:srgbClr val="FFFFFF"/>
      </a:accent3>
      <a:accent4>
        <a:srgbClr val="404040"/>
      </a:accent4>
      <a:accent5>
        <a:srgbClr val="B2B2B2"/>
      </a:accent5>
      <a:accent6>
        <a:srgbClr val="A1A1A1"/>
      </a:accent6>
      <a:hlink>
        <a:srgbClr val="777777"/>
      </a:hlink>
      <a:folHlink>
        <a:srgbClr val="777777"/>
      </a:folHlink>
    </a:clrScheme>
    <a:fontScheme name="Intro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Intro 1">
        <a:dk1>
          <a:srgbClr val="4D4D4D"/>
        </a:dk1>
        <a:lt1>
          <a:srgbClr val="FFFFFF"/>
        </a:lt1>
        <a:dk2>
          <a:srgbClr val="292929"/>
        </a:dk2>
        <a:lt2>
          <a:srgbClr val="EAEAEA"/>
        </a:lt2>
        <a:accent1>
          <a:srgbClr val="4D4D4D"/>
        </a:accent1>
        <a:accent2>
          <a:srgbClr val="B2B2B2"/>
        </a:accent2>
        <a:accent3>
          <a:srgbClr val="FFFFFF"/>
        </a:accent3>
        <a:accent4>
          <a:srgbClr val="404040"/>
        </a:accent4>
        <a:accent5>
          <a:srgbClr val="B2B2B2"/>
        </a:accent5>
        <a:accent6>
          <a:srgbClr val="A1A1A1"/>
        </a:accent6>
        <a:hlink>
          <a:srgbClr val="777777"/>
        </a:hlink>
        <a:folHlink>
          <a:srgbClr val="777777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Motiv sady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Kancelář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Motiv sady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Kancelář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Kancelář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0609</TotalTime>
  <Words>1373</Words>
  <Application>Microsoft Office PowerPoint</Application>
  <PresentationFormat>Předvádění na obrazovce (4:3)</PresentationFormat>
  <Paragraphs>420</Paragraphs>
  <Slides>18</Slides>
  <Notes>2</Notes>
  <HiddenSlides>0</HiddenSlides>
  <MMClips>0</MMClips>
  <ScaleCrop>false</ScaleCrop>
  <HeadingPairs>
    <vt:vector size="8" baseType="variant">
      <vt:variant>
        <vt:lpstr>Použitá písma</vt:lpstr>
      </vt:variant>
      <vt:variant>
        <vt:i4>4</vt:i4>
      </vt:variant>
      <vt:variant>
        <vt:lpstr>Motiv</vt:lpstr>
      </vt:variant>
      <vt:variant>
        <vt:i4>2</vt:i4>
      </vt:variant>
      <vt:variant>
        <vt:lpstr>Vložené servery OLE</vt:lpstr>
      </vt:variant>
      <vt:variant>
        <vt:i4>1</vt:i4>
      </vt:variant>
      <vt:variant>
        <vt:lpstr>Nadpisy snímků</vt:lpstr>
      </vt:variant>
      <vt:variant>
        <vt:i4>18</vt:i4>
      </vt:variant>
    </vt:vector>
  </HeadingPairs>
  <TitlesOfParts>
    <vt:vector size="25" baseType="lpstr">
      <vt:lpstr>Arial</vt:lpstr>
      <vt:lpstr>Calibri</vt:lpstr>
      <vt:lpstr>Sweco Sans</vt:lpstr>
      <vt:lpstr>Times New Roman</vt:lpstr>
      <vt:lpstr>SWECO-template PP</vt:lpstr>
      <vt:lpstr>Intro</vt:lpstr>
      <vt:lpstr>think-cell Slide</vt:lpstr>
      <vt:lpstr>      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DĚKUJEME  ZA POZORNOST</vt:lpstr>
    </vt:vector>
  </TitlesOfParts>
  <Company>HYDROPROJEKT CZ a.s.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nímek 1</dc:title>
  <dc:creator>Ing. Petr Stdnička</dc:creator>
  <cp:lastModifiedBy>Sychra, Libor</cp:lastModifiedBy>
  <cp:revision>820</cp:revision>
  <cp:lastPrinted>2019-09-05T11:17:19Z</cp:lastPrinted>
  <dcterms:created xsi:type="dcterms:W3CDTF">2009-06-30T06:13:43Z</dcterms:created>
  <dcterms:modified xsi:type="dcterms:W3CDTF">2020-01-09T09:45:5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SWOK_Template">
    <vt:lpwstr>OH03e 2009-03-20</vt:lpwstr>
  </property>
</Properties>
</file>